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1" r:id="rId2"/>
    <p:sldMasterId id="2147483663" r:id="rId3"/>
    <p:sldMasterId id="2147483692" r:id="rId4"/>
    <p:sldMasterId id="2147483768" r:id="rId5"/>
  </p:sldMasterIdLst>
  <p:notesMasterIdLst>
    <p:notesMasterId r:id="rId15"/>
  </p:notesMasterIdLst>
  <p:sldIdLst>
    <p:sldId id="2147469546" r:id="rId6"/>
    <p:sldId id="1915" r:id="rId7"/>
    <p:sldId id="2147469544" r:id="rId8"/>
    <p:sldId id="256" r:id="rId9"/>
    <p:sldId id="257" r:id="rId10"/>
    <p:sldId id="259" r:id="rId11"/>
    <p:sldId id="2147469547" r:id="rId12"/>
    <p:sldId id="2147469548" r:id="rId13"/>
    <p:sldId id="2147469549"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971" autoAdjust="0"/>
    <p:restoredTop sz="68975" autoAdjust="0"/>
  </p:normalViewPr>
  <p:slideViewPr>
    <p:cSldViewPr snapToGrid="0">
      <p:cViewPr varScale="1">
        <p:scale>
          <a:sx n="50" d="100"/>
          <a:sy n="50" d="100"/>
        </p:scale>
        <p:origin x="1798"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C20BB3-3CCB-4FE5-991B-82F6BCB48AF3}" type="datetimeFigureOut">
              <a:rPr lang="en-US" smtClean="0"/>
              <a:t>7/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746DE6-3336-457D-A091-FA20AC1C536E}" type="slidenum">
              <a:rPr lang="en-US" smtClean="0"/>
              <a:t>‹#›</a:t>
            </a:fld>
            <a:endParaRPr lang="en-US"/>
          </a:p>
        </p:txBody>
      </p:sp>
    </p:spTree>
    <p:extLst>
      <p:ext uri="{BB962C8B-B14F-4D97-AF65-F5344CB8AC3E}">
        <p14:creationId xmlns:p14="http://schemas.microsoft.com/office/powerpoint/2010/main" val="13338262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757801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This </a:t>
            </a:r>
            <a:r>
              <a:rPr lang="en-US" sz="1200" i="0" dirty="0">
                <a:latin typeface="Segoe UI" panose="020B0502040204020203" pitchFamily="34" charset="0"/>
                <a:cs typeface="Segoe UI" panose="020B0502040204020203" pitchFamily="34" charset="0"/>
              </a:rPr>
              <a:t>slide shows banks are weighed down with both industry and regulatory pressures. </a:t>
            </a:r>
          </a:p>
          <a:p>
            <a:endParaRPr lang="en-US" sz="1200" dirty="0">
              <a:latin typeface="Segoe UI" panose="020B0502040204020203" pitchFamily="34" charset="0"/>
              <a:cs typeface="Segoe UI" panose="020B0502040204020203" pitchFamily="34" charset="0"/>
            </a:endParaRPr>
          </a:p>
          <a:p>
            <a:r>
              <a:rPr lang="en-US" sz="1200" dirty="0">
                <a:latin typeface="Segoe UI" panose="020B0502040204020203" pitchFamily="34" charset="0"/>
                <a:cs typeface="Segoe UI" panose="020B0502040204020203" pitchFamily="34" charset="0"/>
              </a:rPr>
              <a:t>The weight of all these market demands is presenting a conundrum for today’s banking organizations. Banking organizations cant ignore either of these areas, but need to strive for some balance to provide achieve long-term growth and success. </a:t>
            </a:r>
          </a:p>
        </p:txBody>
      </p:sp>
    </p:spTree>
    <p:extLst>
      <p:ext uri="{BB962C8B-B14F-4D97-AF65-F5344CB8AC3E}">
        <p14:creationId xmlns:p14="http://schemas.microsoft.com/office/powerpoint/2010/main" val="278246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This slide highlights the fact that there are many non-traditional banks/financial institutions entering the banking space and that consumers are increasingly showing a willingness to work with those non-traditional banking firms. </a:t>
            </a:r>
          </a:p>
          <a:p>
            <a:endParaRPr lang="en-US" sz="1200" dirty="0">
              <a:latin typeface="Segoe UI" panose="020B0502040204020203" pitchFamily="34" charset="0"/>
              <a:cs typeface="Segoe UI" panose="020B0502040204020203" pitchFamily="34" charset="0"/>
            </a:endParaRPr>
          </a:p>
          <a:p>
            <a:r>
              <a:rPr lang="en-US" sz="1200" dirty="0">
                <a:latin typeface="Segoe UI" panose="020B0502040204020203" pitchFamily="34" charset="0"/>
                <a:cs typeface="Segoe UI" panose="020B0502040204020203" pitchFamily="34" charset="0"/>
              </a:rPr>
              <a:t>Net-net, retail banks are not just competing with other banks but now also with non-traditional financial institutions. </a:t>
            </a:r>
          </a:p>
          <a:p>
            <a:endParaRPr lang="en-US" sz="12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48806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Starter has created an outline to help you get started on your presentation. Some slides include information here in the notes to provide additional topics for you to research.</a:t>
            </a:r>
          </a:p>
          <a:p>
            <a:endParaRPr lang="en-US" dirty="0"/>
          </a:p>
        </p:txBody>
      </p:sp>
      <p:sp>
        <p:nvSpPr>
          <p:cNvPr id="4" name="Slide Number Placeholder 3"/>
          <p:cNvSpPr>
            <a:spLocks noGrp="1"/>
          </p:cNvSpPr>
          <p:nvPr>
            <p:ph type="sldNum" sz="quarter" idx="10"/>
          </p:nvPr>
        </p:nvSpPr>
        <p:spPr/>
        <p:txBody>
          <a:bodyPr/>
          <a:lstStyle/>
          <a:p>
            <a:fld id="{E0746DE6-3336-457D-A091-FA20AC1C536E}" type="slidenum">
              <a:rPr lang="en-US" smtClean="0"/>
              <a:t>4</a:t>
            </a:fld>
            <a:endParaRPr lang="en-US"/>
          </a:p>
        </p:txBody>
      </p:sp>
    </p:spTree>
    <p:extLst>
      <p:ext uri="{BB962C8B-B14F-4D97-AF65-F5344CB8AC3E}">
        <p14:creationId xmlns:p14="http://schemas.microsoft.com/office/powerpoint/2010/main" val="13338262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Starter has created an outline to help you get started on your presentation. Some slides include information here in the notes to provide additional topics for you to research.</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28751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4.xml"/><Relationship Id="rId1" Type="http://schemas.openxmlformats.org/officeDocument/2006/relationships/tags" Target="../tags/tag1.xml"/><Relationship Id="rId6" Type="http://schemas.openxmlformats.org/officeDocument/2006/relationships/image" Target="../media/image11.emf"/><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4.xml"/><Relationship Id="rId1" Type="http://schemas.openxmlformats.org/officeDocument/2006/relationships/tags" Target="../tags/tag2.xml"/><Relationship Id="rId6" Type="http://schemas.openxmlformats.org/officeDocument/2006/relationships/image" Target="../media/image11.emf"/><Relationship Id="rId5" Type="http://schemas.openxmlformats.org/officeDocument/2006/relationships/image" Target="../media/image22.emf"/><Relationship Id="rId4" Type="http://schemas.openxmlformats.org/officeDocument/2006/relationships/oleObject" Target="../embeddings/oleObject2.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gi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26.emf"/></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6AD6EE87-EBD5-4F12-A48A-63ACA297AC8F}" type="datetimeFigureOut">
              <a:rPr lang="en-US" dirty="0"/>
              <a:t>7/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60586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CD73815-2707-4475-8F1A-B873CB631BB4}" type="datetimeFigureOut">
              <a:rPr lang="en-US" dirty="0"/>
              <a:t>7/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59693305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7" cy="1158793"/>
          </a:xfrm>
          <a:noFill/>
        </p:spPr>
        <p:txBody>
          <a:bodyPr tIns="91440" bIns="91440" anchor="t" anchorCtr="0">
            <a:spAutoFit/>
          </a:bodyPr>
          <a:lstStyle>
            <a:lvl1pPr>
              <a:defRPr lang="en-US" sz="705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87340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1999" cy="6858000"/>
          </a:xfrm>
          <a:prstGeom prst="rect">
            <a:avLst/>
          </a:prstGeom>
        </p:spPr>
      </p:pic>
      <p:sp>
        <p:nvSpPr>
          <p:cNvPr id="6" name="Picture Placeholder 5"/>
          <p:cNvSpPr>
            <a:spLocks noGrp="1"/>
          </p:cNvSpPr>
          <p:nvPr>
            <p:ph type="pic" sz="quarter" idx="11" hasCustomPrompt="1"/>
          </p:nvPr>
        </p:nvSpPr>
        <p:spPr>
          <a:xfrm>
            <a:off x="0" y="-1"/>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4" y="2095672"/>
            <a:ext cx="2743200" cy="914400"/>
          </a:xfrm>
        </p:spPr>
        <p:txBody>
          <a:bodyPr>
            <a:normAutofit/>
          </a:bodyPr>
          <a:lstStyle>
            <a:lvl1pPr marL="0" marR="0" indent="0" algn="ctr" defTabSz="914320" rtl="0" eaLnBrk="1" fontAlgn="auto" latinLnBrk="0" hangingPunct="1">
              <a:lnSpc>
                <a:spcPct val="100000"/>
              </a:lnSpc>
              <a:spcBef>
                <a:spcPts val="0"/>
              </a:spcBef>
              <a:spcAft>
                <a:spcPts val="0"/>
              </a:spcAft>
              <a:buClrTx/>
              <a:buSzTx/>
              <a:buFont typeface="Wingdings" pitchFamily="2" charset="2"/>
              <a:buNone/>
              <a:tabLst/>
              <a:defRPr lang="en-US" sz="5999"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32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1533977093"/>
      </p:ext>
    </p:extLst>
  </p:cSld>
  <p:clrMapOvr>
    <a:masterClrMapping/>
  </p:clrMapOvr>
  <p:transition>
    <p:fade/>
  </p:transition>
  <p:extLst>
    <p:ext uri="{DCECCB84-F9BA-43D5-87BE-67443E8EF086}">
      <p15:sldGuideLst xmlns:p15="http://schemas.microsoft.com/office/powerpoint/2012/main">
        <p15:guide id="1" pos="2917">
          <p15:clr>
            <a:srgbClr val="5ACBF0"/>
          </p15:clr>
        </p15:guide>
        <p15:guide id="2" pos="3482">
          <p15:clr>
            <a:srgbClr val="5ACBF0"/>
          </p15:clr>
        </p15:guide>
        <p15:guide id="3" pos="3765">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1465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pic>
        <p:nvPicPr>
          <p:cNvPr id="3" name="Picture 2">
            <a:extLst>
              <a:ext uri="{FF2B5EF4-FFF2-40B4-BE49-F238E27FC236}">
                <a16:creationId xmlns:a16="http://schemas.microsoft.com/office/drawing/2014/main" id="{A3C7F94D-E989-4B10-A890-98FB85F6501E}"/>
              </a:ext>
            </a:extLst>
          </p:cNvPr>
          <p:cNvPicPr>
            <a:picLocks noChangeAspect="1"/>
          </p:cNvPicPr>
          <p:nvPr userDrawn="1"/>
        </p:nvPicPr>
        <p:blipFill rotWithShape="1">
          <a:blip r:embed="rId2"/>
          <a:srcRect t="11505" r="8764" b="11505"/>
          <a:stretch/>
        </p:blipFill>
        <p:spPr>
          <a:xfrm>
            <a:off x="0" y="0"/>
            <a:ext cx="12436476" cy="6994525"/>
          </a:xfrm>
          <a:prstGeom prst="rect">
            <a:avLst/>
          </a:prstGeom>
        </p:spPr>
      </p:pic>
    </p:spTree>
    <p:extLst>
      <p:ext uri="{BB962C8B-B14F-4D97-AF65-F5344CB8AC3E}">
        <p14:creationId xmlns:p14="http://schemas.microsoft.com/office/powerpoint/2010/main" val="3638450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41349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Vide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6" name="Picture Placeholder 5"/>
          <p:cNvSpPr>
            <a:spLocks noGrp="1"/>
          </p:cNvSpPr>
          <p:nvPr>
            <p:ph type="pic" sz="quarter" idx="11" hasCustomPrompt="1"/>
          </p:nvPr>
        </p:nvSpPr>
        <p:spPr>
          <a:xfrm>
            <a:off x="0" y="-1"/>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3" y="2095671"/>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964845288"/>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5698255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46440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25765693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19248" y="1449389"/>
            <a:ext cx="11453477" cy="1914370"/>
          </a:xfrm>
        </p:spPr>
        <p:txBody>
          <a:bodyPr wrap="square">
            <a:spAutoFit/>
          </a:bodyPr>
          <a:lstStyle>
            <a:lvl1pPr marL="457112" indent="-457112">
              <a:buFont typeface="Arial" panose="020B0604020202020204" pitchFamily="34" charset="0"/>
              <a:buChar char="•"/>
              <a:defRPr sz="3200">
                <a:solidFill>
                  <a:schemeClr val="tx1"/>
                </a:solidFill>
                <a:latin typeface="+mj-lt"/>
              </a:defRPr>
            </a:lvl1pPr>
            <a:lvl2pPr>
              <a:defRPr sz="2000">
                <a:latin typeface="+mj-lt"/>
              </a:defRPr>
            </a:lvl2pPr>
            <a:lvl3pPr>
              <a:defRPr sz="2000">
                <a:latin typeface="+mj-lt"/>
              </a:defRPr>
            </a:lvl3pPr>
            <a:lvl4pPr>
              <a:defRPr sz="1800">
                <a:latin typeface="+mj-lt"/>
              </a:defRPr>
            </a:lvl4pPr>
            <a:lvl5pPr>
              <a:defRPr sz="18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6"/>
          <p:cNvSpPr txBox="1">
            <a:spLocks/>
          </p:cNvSpPr>
          <p:nvPr userDrawn="1"/>
        </p:nvSpPr>
        <p:spPr>
          <a:xfrm>
            <a:off x="11222130" y="6567190"/>
            <a:ext cx="820952" cy="184666"/>
          </a:xfrm>
          <a:prstGeom prst="rect">
            <a:avLst/>
          </a:prstGeom>
        </p:spPr>
        <p:txBody>
          <a:bodyPr vert="horz" lIns="91427" tIns="45713" rIns="91427" bIns="45713" rtlCol="0" anchor="ctr"/>
          <a:lstStyle>
            <a:defPPr>
              <a:defRPr lang="en-US"/>
            </a:defPPr>
            <a:lvl1pPr marL="0" algn="r" defTabSz="914363" rtl="0" eaLnBrk="1" latinLnBrk="0" hangingPunct="1">
              <a:defRPr sz="12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r" defTabSz="896350" rtl="0" eaLnBrk="1" fontAlgn="auto" latinLnBrk="0" hangingPunct="1">
              <a:lnSpc>
                <a:spcPct val="100000"/>
              </a:lnSpc>
              <a:spcBef>
                <a:spcPts val="0"/>
              </a:spcBef>
              <a:spcAft>
                <a:spcPts val="0"/>
              </a:spcAft>
              <a:buClrTx/>
              <a:buSzTx/>
              <a:buFontTx/>
              <a:buNone/>
              <a:tabLst/>
              <a:defRPr/>
            </a:pPr>
            <a:fld id="{71F47D9D-8D60-4698-A495-89D102E182A2}" type="slidenum">
              <a:rPr kumimoji="0" lang="en-US" sz="1200" b="0" i="0" u="none" strike="noStrike" kern="1200" cap="none" spc="0" normalizeH="0" baseline="0" noProof="0" smtClean="0">
                <a:ln>
                  <a:noFill/>
                </a:ln>
                <a:solidFill>
                  <a:srgbClr val="505050"/>
                </a:solidFill>
                <a:effectLst/>
                <a:uLnTx/>
                <a:uFillTx/>
                <a:latin typeface="Segoe UI Semilight"/>
                <a:ea typeface="+mn-ea"/>
                <a:cs typeface="+mn-cs"/>
              </a:rPr>
              <a:pPr marL="0" marR="0" lvl="0" indent="0" algn="r" defTabSz="89635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348547212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A4AFB99-0EAB-4182-AFF8-E214C82A68F6}" type="datetimeFigureOut">
              <a:rPr lang="en-US" dirty="0"/>
              <a:t>7/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478916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70"/>
            <a:ext cx="4795873" cy="1484704"/>
          </a:xfrm>
        </p:spPr>
        <p:txBody>
          <a:bodyPr wrap="square" anchor="t">
            <a:spAutoFit/>
          </a:bodyPr>
          <a:lstStyle>
            <a:lvl1pPr>
              <a:defRPr sz="4706"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1" y="1"/>
            <a:ext cx="6857649" cy="6856100"/>
          </a:xfrm>
          <a:prstGeom prst="rect">
            <a:avLst/>
          </a:prstGeo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57621775"/>
      </p:ext>
    </p:extLst>
  </p:cSld>
  <p:clrMapOvr>
    <a:masterClrMapping/>
  </p:clrMapOvr>
  <p:transition>
    <p:fade/>
  </p:transition>
  <p:extLst>
    <p:ext uri="{DCECCB84-F9BA-43D5-87BE-67443E8EF086}">
      <p15:sldGuideLst xmlns:p15="http://schemas.microsoft.com/office/powerpoint/2012/main">
        <p15:guide id="1" pos="33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5"/>
            </a:lvl1pPr>
          </a:lstStyle>
          <a:p>
            <a:r>
              <a:rPr lang="en-US"/>
              <a:t>Click to edit Master title style</a:t>
            </a:r>
          </a:p>
        </p:txBody>
      </p:sp>
      <p:sp>
        <p:nvSpPr>
          <p:cNvPr id="3" name="Subtitle 2"/>
          <p:cNvSpPr>
            <a:spLocks noGrp="1"/>
          </p:cNvSpPr>
          <p:nvPr>
            <p:ph type="subTitle" idx="1"/>
          </p:nvPr>
        </p:nvSpPr>
        <p:spPr>
          <a:xfrm>
            <a:off x="1524000" y="3602038"/>
            <a:ext cx="9144000" cy="517065"/>
          </a:xfrm>
        </p:spPr>
        <p:txBody>
          <a:bodyPr/>
          <a:lstStyle>
            <a:lvl1pPr marL="0" indent="0" algn="ctr">
              <a:buNone/>
              <a:defRPr sz="2400"/>
            </a:lvl1pPr>
            <a:lvl2pPr marL="456937" indent="0" algn="ctr">
              <a:buNone/>
              <a:defRPr sz="2000"/>
            </a:lvl2pPr>
            <a:lvl3pPr marL="913874" indent="0" algn="ctr">
              <a:buNone/>
              <a:defRPr sz="1800"/>
            </a:lvl3pPr>
            <a:lvl4pPr marL="1370810" indent="0" algn="ctr">
              <a:buNone/>
              <a:defRPr sz="1600"/>
            </a:lvl4pPr>
            <a:lvl5pPr marL="1827747" indent="0" algn="ctr">
              <a:buNone/>
              <a:defRPr sz="1600"/>
            </a:lvl5pPr>
            <a:lvl6pPr marL="2284683" indent="0" algn="ctr">
              <a:buNone/>
              <a:defRPr sz="1600"/>
            </a:lvl6pPr>
            <a:lvl7pPr marL="2741621" indent="0" algn="ctr">
              <a:buNone/>
              <a:defRPr sz="1600"/>
            </a:lvl7pPr>
            <a:lvl8pPr marL="3198557" indent="0" algn="ctr">
              <a:buNone/>
              <a:defRPr sz="1600"/>
            </a:lvl8pPr>
            <a:lvl9pPr marL="3655493" indent="0" algn="ctr">
              <a:buNone/>
              <a:defRPr sz="1600"/>
            </a:lvl9pPr>
          </a:lstStyle>
          <a:p>
            <a:r>
              <a:rPr lang="en-US"/>
              <a:t>Click to edit Master subtitle style</a:t>
            </a:r>
          </a:p>
        </p:txBody>
      </p:sp>
    </p:spTree>
    <p:extLst>
      <p:ext uri="{BB962C8B-B14F-4D97-AF65-F5344CB8AC3E}">
        <p14:creationId xmlns:p14="http://schemas.microsoft.com/office/powerpoint/2010/main" val="390614976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9" name="Slide Number Placeholder 3">
            <a:extLst>
              <a:ext uri="{FF2B5EF4-FFF2-40B4-BE49-F238E27FC236}">
                <a16:creationId xmlns:a16="http://schemas.microsoft.com/office/drawing/2014/main" id="{8C3C37BD-8060-435F-A1AE-EB31E568455A}"/>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7943923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80242553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413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E3804080-CFC3-44E3-A504-6786FDA13BD6}"/>
              </a:ext>
            </a:extLst>
          </p:cNvPr>
          <p:cNvSpPr>
            <a:spLocks noGrp="1"/>
          </p:cNvSpPr>
          <p:nvPr>
            <p:ph type="body" sz="quarter" idx="11" hasCustomPrompt="1"/>
          </p:nvPr>
        </p:nvSpPr>
        <p:spPr>
          <a:xfrm>
            <a:off x="586390" y="6145927"/>
            <a:ext cx="11018520" cy="123111"/>
          </a:xfrm>
        </p:spPr>
        <p:txBody>
          <a:bodyPr anchor="b" anchorCtr="0">
            <a:noAutofit/>
          </a:bodyPr>
          <a:lstStyle>
            <a:lvl1pPr marL="0" indent="0">
              <a:buFontTx/>
              <a:buNone/>
              <a:defRPr sz="800">
                <a:latin typeface="Segoe UI" panose="020B0502040204020203" pitchFamily="34" charset="0"/>
                <a:cs typeface="Segoe UI" panose="020B0502040204020203" pitchFamily="34" charset="0"/>
              </a:defRPr>
            </a:lvl1pPr>
          </a:lstStyle>
          <a:p>
            <a:pPr lvl="0"/>
            <a:r>
              <a:rPr lang="en-US"/>
              <a:t>Click to edit footnote or source text, delete this box if not needed</a:t>
            </a:r>
          </a:p>
        </p:txBody>
      </p:sp>
    </p:spTree>
    <p:extLst>
      <p:ext uri="{BB962C8B-B14F-4D97-AF65-F5344CB8AC3E}">
        <p14:creationId xmlns:p14="http://schemas.microsoft.com/office/powerpoint/2010/main" val="13070191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53A5-291C-4A14-822D-2BE6DBDBD6C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F8E06CF-7E57-4DA5-9DDD-31D8250874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C64E7B5-6406-4674-89AA-38AC20548D78}"/>
              </a:ext>
            </a:extLst>
          </p:cNvPr>
          <p:cNvSpPr>
            <a:spLocks noGrp="1"/>
          </p:cNvSpPr>
          <p:nvPr>
            <p:ph type="dt" sz="half" idx="10"/>
          </p:nvPr>
        </p:nvSpPr>
        <p:spPr/>
        <p:txBody>
          <a:bodyPr/>
          <a:lstStyle/>
          <a:p>
            <a:fld id="{E1E79AA3-99E6-40AD-87E3-C06A26743B87}" type="datetimeFigureOut">
              <a:rPr lang="en-GB" smtClean="0"/>
              <a:t>25/07/2022</a:t>
            </a:fld>
            <a:endParaRPr lang="en-GB"/>
          </a:p>
        </p:txBody>
      </p:sp>
      <p:sp>
        <p:nvSpPr>
          <p:cNvPr id="5" name="Footer Placeholder 4">
            <a:extLst>
              <a:ext uri="{FF2B5EF4-FFF2-40B4-BE49-F238E27FC236}">
                <a16:creationId xmlns:a16="http://schemas.microsoft.com/office/drawing/2014/main" id="{95A3959E-3759-4281-B903-39C900EE0B8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BAB4BD9-205B-452A-A5CC-23B8F7345923}"/>
              </a:ext>
            </a:extLst>
          </p:cNvPr>
          <p:cNvSpPr>
            <a:spLocks noGrp="1"/>
          </p:cNvSpPr>
          <p:nvPr>
            <p:ph type="sldNum" sz="quarter" idx="12"/>
          </p:nvPr>
        </p:nvSpPr>
        <p:spPr/>
        <p:txBody>
          <a:bodyPr/>
          <a:lstStyle/>
          <a:p>
            <a:fld id="{F7C9F074-17E5-44A6-9A1E-401CBC41AB4B}" type="slidenum">
              <a:rPr lang="en-GB" smtClean="0"/>
              <a:t>‹#›</a:t>
            </a:fld>
            <a:endParaRPr lang="en-GB"/>
          </a:p>
        </p:txBody>
      </p:sp>
    </p:spTree>
    <p:extLst>
      <p:ext uri="{BB962C8B-B14F-4D97-AF65-F5344CB8AC3E}">
        <p14:creationId xmlns:p14="http://schemas.microsoft.com/office/powerpoint/2010/main" val="392863140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6CD0A-5687-4512-A56C-1C3FF3FA2E6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5C7B22B-F528-46DF-BB97-A6FBA747ED4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0FA2AB2-7299-45FB-AB3A-EE265EC9F12B}"/>
              </a:ext>
            </a:extLst>
          </p:cNvPr>
          <p:cNvSpPr>
            <a:spLocks noGrp="1"/>
          </p:cNvSpPr>
          <p:nvPr>
            <p:ph type="dt" sz="half" idx="10"/>
          </p:nvPr>
        </p:nvSpPr>
        <p:spPr/>
        <p:txBody>
          <a:bodyPr/>
          <a:lstStyle/>
          <a:p>
            <a:fld id="{E1E79AA3-99E6-40AD-87E3-C06A26743B87}" type="datetimeFigureOut">
              <a:rPr lang="en-GB" smtClean="0"/>
              <a:t>25/07/2022</a:t>
            </a:fld>
            <a:endParaRPr lang="en-GB"/>
          </a:p>
        </p:txBody>
      </p:sp>
      <p:sp>
        <p:nvSpPr>
          <p:cNvPr id="5" name="Footer Placeholder 4">
            <a:extLst>
              <a:ext uri="{FF2B5EF4-FFF2-40B4-BE49-F238E27FC236}">
                <a16:creationId xmlns:a16="http://schemas.microsoft.com/office/drawing/2014/main" id="{83A407EC-2AC1-42BA-A77B-BF4E0D27417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7751BD-F9B5-40B5-A1C7-6CA4FC853772}"/>
              </a:ext>
            </a:extLst>
          </p:cNvPr>
          <p:cNvSpPr>
            <a:spLocks noGrp="1"/>
          </p:cNvSpPr>
          <p:nvPr>
            <p:ph type="sldNum" sz="quarter" idx="12"/>
          </p:nvPr>
        </p:nvSpPr>
        <p:spPr/>
        <p:txBody>
          <a:bodyPr/>
          <a:lstStyle/>
          <a:p>
            <a:fld id="{F7C9F074-17E5-44A6-9A1E-401CBC41AB4B}" type="slidenum">
              <a:rPr lang="en-GB" smtClean="0"/>
              <a:t>‹#›</a:t>
            </a:fld>
            <a:endParaRPr lang="en-GB"/>
          </a:p>
        </p:txBody>
      </p:sp>
    </p:spTree>
    <p:extLst>
      <p:ext uri="{BB962C8B-B14F-4D97-AF65-F5344CB8AC3E}">
        <p14:creationId xmlns:p14="http://schemas.microsoft.com/office/powerpoint/2010/main" val="152704482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BAC29-6448-44DB-AD59-6AF225B577B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071A851-D4A1-4806-8B72-9C8279546C2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6C466A6-1CB4-4EFC-B35B-636FFB9B48DF}"/>
              </a:ext>
            </a:extLst>
          </p:cNvPr>
          <p:cNvSpPr>
            <a:spLocks noGrp="1"/>
          </p:cNvSpPr>
          <p:nvPr>
            <p:ph type="dt" sz="half" idx="10"/>
          </p:nvPr>
        </p:nvSpPr>
        <p:spPr/>
        <p:txBody>
          <a:bodyPr/>
          <a:lstStyle/>
          <a:p>
            <a:fld id="{E1E79AA3-99E6-40AD-87E3-C06A26743B87}" type="datetimeFigureOut">
              <a:rPr lang="en-GB" smtClean="0"/>
              <a:t>25/07/2022</a:t>
            </a:fld>
            <a:endParaRPr lang="en-GB"/>
          </a:p>
        </p:txBody>
      </p:sp>
      <p:sp>
        <p:nvSpPr>
          <p:cNvPr id="5" name="Footer Placeholder 4">
            <a:extLst>
              <a:ext uri="{FF2B5EF4-FFF2-40B4-BE49-F238E27FC236}">
                <a16:creationId xmlns:a16="http://schemas.microsoft.com/office/drawing/2014/main" id="{4D3AB146-1B55-491B-93B2-7B42F029088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F582330-B627-41AF-9434-3C4DC76D218A}"/>
              </a:ext>
            </a:extLst>
          </p:cNvPr>
          <p:cNvSpPr>
            <a:spLocks noGrp="1"/>
          </p:cNvSpPr>
          <p:nvPr>
            <p:ph type="sldNum" sz="quarter" idx="12"/>
          </p:nvPr>
        </p:nvSpPr>
        <p:spPr/>
        <p:txBody>
          <a:bodyPr/>
          <a:lstStyle/>
          <a:p>
            <a:fld id="{F7C9F074-17E5-44A6-9A1E-401CBC41AB4B}" type="slidenum">
              <a:rPr lang="en-GB" smtClean="0"/>
              <a:t>‹#›</a:t>
            </a:fld>
            <a:endParaRPr lang="en-GB"/>
          </a:p>
        </p:txBody>
      </p:sp>
    </p:spTree>
    <p:extLst>
      <p:ext uri="{BB962C8B-B14F-4D97-AF65-F5344CB8AC3E}">
        <p14:creationId xmlns:p14="http://schemas.microsoft.com/office/powerpoint/2010/main" val="221506552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36D93-7CB3-4D29-956E-DDF2F8CF870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E64171-E394-448D-8FC0-860FA4F380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134E999-04A0-4CEE-BA21-51B2B76B87A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20F8233-CAED-4EB1-9FD5-D619448C2E05}"/>
              </a:ext>
            </a:extLst>
          </p:cNvPr>
          <p:cNvSpPr>
            <a:spLocks noGrp="1"/>
          </p:cNvSpPr>
          <p:nvPr>
            <p:ph type="dt" sz="half" idx="10"/>
          </p:nvPr>
        </p:nvSpPr>
        <p:spPr/>
        <p:txBody>
          <a:bodyPr/>
          <a:lstStyle/>
          <a:p>
            <a:fld id="{E1E79AA3-99E6-40AD-87E3-C06A26743B87}" type="datetimeFigureOut">
              <a:rPr lang="en-GB" smtClean="0"/>
              <a:t>25/07/2022</a:t>
            </a:fld>
            <a:endParaRPr lang="en-GB"/>
          </a:p>
        </p:txBody>
      </p:sp>
      <p:sp>
        <p:nvSpPr>
          <p:cNvPr id="6" name="Footer Placeholder 5">
            <a:extLst>
              <a:ext uri="{FF2B5EF4-FFF2-40B4-BE49-F238E27FC236}">
                <a16:creationId xmlns:a16="http://schemas.microsoft.com/office/drawing/2014/main" id="{6DE5C36E-5136-44A9-BE62-1620328CD42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E14E27B-E7C5-4872-B161-7ED9058C3537}"/>
              </a:ext>
            </a:extLst>
          </p:cNvPr>
          <p:cNvSpPr>
            <a:spLocks noGrp="1"/>
          </p:cNvSpPr>
          <p:nvPr>
            <p:ph type="sldNum" sz="quarter" idx="12"/>
          </p:nvPr>
        </p:nvSpPr>
        <p:spPr/>
        <p:txBody>
          <a:bodyPr/>
          <a:lstStyle/>
          <a:p>
            <a:fld id="{F7C9F074-17E5-44A6-9A1E-401CBC41AB4B}" type="slidenum">
              <a:rPr lang="en-GB" smtClean="0"/>
              <a:t>‹#›</a:t>
            </a:fld>
            <a:endParaRPr lang="en-GB"/>
          </a:p>
        </p:txBody>
      </p:sp>
    </p:spTree>
    <p:extLst>
      <p:ext uri="{BB962C8B-B14F-4D97-AF65-F5344CB8AC3E}">
        <p14:creationId xmlns:p14="http://schemas.microsoft.com/office/powerpoint/2010/main" val="388397322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261F2-CF65-47FD-A7A3-56EB2FFC62F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302D3A1-D59D-4B33-814E-9A5125B8292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E36E807-F6FB-4237-B363-FE9E098D8CF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844F47E-D002-495C-B81B-15449855273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229296E-194C-4AF8-9F9C-EFA538B5E58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737122E-E6C5-4DB2-A5DA-20B92C7ED596}"/>
              </a:ext>
            </a:extLst>
          </p:cNvPr>
          <p:cNvSpPr>
            <a:spLocks noGrp="1"/>
          </p:cNvSpPr>
          <p:nvPr>
            <p:ph type="dt" sz="half" idx="10"/>
          </p:nvPr>
        </p:nvSpPr>
        <p:spPr/>
        <p:txBody>
          <a:bodyPr/>
          <a:lstStyle/>
          <a:p>
            <a:fld id="{E1E79AA3-99E6-40AD-87E3-C06A26743B87}" type="datetimeFigureOut">
              <a:rPr lang="en-GB" smtClean="0"/>
              <a:t>25/07/2022</a:t>
            </a:fld>
            <a:endParaRPr lang="en-GB"/>
          </a:p>
        </p:txBody>
      </p:sp>
      <p:sp>
        <p:nvSpPr>
          <p:cNvPr id="8" name="Footer Placeholder 7">
            <a:extLst>
              <a:ext uri="{FF2B5EF4-FFF2-40B4-BE49-F238E27FC236}">
                <a16:creationId xmlns:a16="http://schemas.microsoft.com/office/drawing/2014/main" id="{1904A325-590E-4D8E-97B1-BA1D3373D8C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58F6D6DB-C882-4137-AE56-32DC40F3AEA1}"/>
              </a:ext>
            </a:extLst>
          </p:cNvPr>
          <p:cNvSpPr>
            <a:spLocks noGrp="1"/>
          </p:cNvSpPr>
          <p:nvPr>
            <p:ph type="sldNum" sz="quarter" idx="12"/>
          </p:nvPr>
        </p:nvSpPr>
        <p:spPr/>
        <p:txBody>
          <a:bodyPr/>
          <a:lstStyle/>
          <a:p>
            <a:fld id="{F7C9F074-17E5-44A6-9A1E-401CBC41AB4B}" type="slidenum">
              <a:rPr lang="en-GB" smtClean="0"/>
              <a:t>‹#›</a:t>
            </a:fld>
            <a:endParaRPr lang="en-GB"/>
          </a:p>
        </p:txBody>
      </p:sp>
    </p:spTree>
    <p:extLst>
      <p:ext uri="{BB962C8B-B14F-4D97-AF65-F5344CB8AC3E}">
        <p14:creationId xmlns:p14="http://schemas.microsoft.com/office/powerpoint/2010/main" val="3185406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4260" y="462455"/>
            <a:ext cx="10515600" cy="822263"/>
          </a:xfrm>
        </p:spPr>
        <p:txBody>
          <a:bodyPr>
            <a:normAutofit/>
          </a:bodyPr>
          <a:lstStyle>
            <a:lvl1pPr>
              <a:defRPr sz="3600">
                <a:solidFill>
                  <a:srgbClr val="D24726"/>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838200" y="1625936"/>
            <a:ext cx="10515600" cy="4351338"/>
          </a:xfrm>
        </p:spPr>
        <p:txBody>
          <a:bodyPr/>
          <a:lstStyle>
            <a:lvl1pPr>
              <a:defRPr sz="1400" baseline="0">
                <a:solidFill>
                  <a:srgbClr val="595959"/>
                </a:solidFill>
                <a:latin typeface="Segoe UI Semilight" panose="020B0402040204020203" pitchFamily="34" charset="0"/>
                <a:cs typeface="Segoe UI Semilight" panose="020B0402040204020203" pitchFamily="34" charset="0"/>
              </a:defRPr>
            </a:lvl1pPr>
            <a:lvl2pPr>
              <a:defRPr sz="1200" baseline="0">
                <a:solidFill>
                  <a:srgbClr val="595959"/>
                </a:solidFill>
                <a:latin typeface="Segoe UI Semilight" panose="020B0402040204020203" pitchFamily="34" charset="0"/>
                <a:cs typeface="Segoe UI Semilight" panose="020B0402040204020203" pitchFamily="34" charset="0"/>
              </a:defRPr>
            </a:lvl2pPr>
            <a:lvl3pPr>
              <a:defRPr sz="1200" baseline="0">
                <a:solidFill>
                  <a:srgbClr val="595959"/>
                </a:solidFill>
                <a:latin typeface="Segoe UI Semilight" panose="020B0402040204020203" pitchFamily="34" charset="0"/>
                <a:cs typeface="Segoe UI Semilight" panose="020B0402040204020203" pitchFamily="34" charset="0"/>
              </a:defRPr>
            </a:lvl3pPr>
            <a:lvl4pPr>
              <a:defRPr sz="1200" baseline="0">
                <a:solidFill>
                  <a:srgbClr val="595959"/>
                </a:solidFill>
                <a:latin typeface="Segoe UI Semilight" panose="020B0402040204020203" pitchFamily="34" charset="0"/>
                <a:cs typeface="Segoe UI Semilight" panose="020B0402040204020203" pitchFamily="34" charset="0"/>
              </a:defRPr>
            </a:lvl4pPr>
            <a:lvl5pPr>
              <a:defRPr sz="1200" baseline="0">
                <a:solidFill>
                  <a:srgbClr val="595959"/>
                </a:solidFill>
                <a:latin typeface="Segoe UI Semilight" panose="020B0402040204020203" pitchFamily="34" charset="0"/>
                <a:cs typeface="Segoe UI Semilight" panose="020B04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3652CD92-9D15-43B4-8516-073FCDAC90D4}" type="datetimeFigureOut">
              <a:rPr lang="en-US" smtClean="0"/>
              <a:t>7/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5E1560-7126-406C-A531-3A398E8D0EEA}" type="slidenum">
              <a:rPr lang="en-US" smtClean="0"/>
              <a:t>‹#›</a:t>
            </a:fld>
            <a:endParaRPr lang="en-US"/>
          </a:p>
        </p:txBody>
      </p:sp>
      <p:cxnSp>
        <p:nvCxnSpPr>
          <p:cNvPr id="7" name="Straight Connector 6"/>
          <p:cNvCxnSpPr/>
          <p:nvPr userDrawn="1"/>
        </p:nvCxnSpPr>
        <p:spPr>
          <a:xfrm>
            <a:off x="952500" y="1284718"/>
            <a:ext cx="1036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55252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55687-CA35-4D96-8502-34FFA22F7DA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1E3393D-74DB-4572-95D9-2C9D89EE1748}"/>
              </a:ext>
            </a:extLst>
          </p:cNvPr>
          <p:cNvSpPr>
            <a:spLocks noGrp="1"/>
          </p:cNvSpPr>
          <p:nvPr>
            <p:ph type="dt" sz="half" idx="10"/>
          </p:nvPr>
        </p:nvSpPr>
        <p:spPr/>
        <p:txBody>
          <a:bodyPr/>
          <a:lstStyle/>
          <a:p>
            <a:fld id="{E1E79AA3-99E6-40AD-87E3-C06A26743B87}" type="datetimeFigureOut">
              <a:rPr lang="en-GB" smtClean="0"/>
              <a:t>25/07/2022</a:t>
            </a:fld>
            <a:endParaRPr lang="en-GB"/>
          </a:p>
        </p:txBody>
      </p:sp>
      <p:sp>
        <p:nvSpPr>
          <p:cNvPr id="4" name="Footer Placeholder 3">
            <a:extLst>
              <a:ext uri="{FF2B5EF4-FFF2-40B4-BE49-F238E27FC236}">
                <a16:creationId xmlns:a16="http://schemas.microsoft.com/office/drawing/2014/main" id="{0AA88574-5258-40AF-9288-92CC45E6BE9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74C1F4D9-FC87-409A-8A23-E46D2216A6B3}"/>
              </a:ext>
            </a:extLst>
          </p:cNvPr>
          <p:cNvSpPr>
            <a:spLocks noGrp="1"/>
          </p:cNvSpPr>
          <p:nvPr>
            <p:ph type="sldNum" sz="quarter" idx="12"/>
          </p:nvPr>
        </p:nvSpPr>
        <p:spPr/>
        <p:txBody>
          <a:bodyPr/>
          <a:lstStyle/>
          <a:p>
            <a:fld id="{F7C9F074-17E5-44A6-9A1E-401CBC41AB4B}" type="slidenum">
              <a:rPr lang="en-GB" smtClean="0"/>
              <a:t>‹#›</a:t>
            </a:fld>
            <a:endParaRPr lang="en-GB"/>
          </a:p>
        </p:txBody>
      </p:sp>
    </p:spTree>
    <p:extLst>
      <p:ext uri="{BB962C8B-B14F-4D97-AF65-F5344CB8AC3E}">
        <p14:creationId xmlns:p14="http://schemas.microsoft.com/office/powerpoint/2010/main" val="19635533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23F612-9EC3-4563-8B5C-FD425DE8EE78}"/>
              </a:ext>
            </a:extLst>
          </p:cNvPr>
          <p:cNvSpPr>
            <a:spLocks noGrp="1"/>
          </p:cNvSpPr>
          <p:nvPr>
            <p:ph type="dt" sz="half" idx="10"/>
          </p:nvPr>
        </p:nvSpPr>
        <p:spPr/>
        <p:txBody>
          <a:bodyPr/>
          <a:lstStyle/>
          <a:p>
            <a:fld id="{E1E79AA3-99E6-40AD-87E3-C06A26743B87}" type="datetimeFigureOut">
              <a:rPr lang="en-GB" smtClean="0"/>
              <a:t>25/07/2022</a:t>
            </a:fld>
            <a:endParaRPr lang="en-GB"/>
          </a:p>
        </p:txBody>
      </p:sp>
      <p:sp>
        <p:nvSpPr>
          <p:cNvPr id="3" name="Footer Placeholder 2">
            <a:extLst>
              <a:ext uri="{FF2B5EF4-FFF2-40B4-BE49-F238E27FC236}">
                <a16:creationId xmlns:a16="http://schemas.microsoft.com/office/drawing/2014/main" id="{BD2BE746-7C92-4925-89FA-07E983A8398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96A2380-07EB-4190-BA13-04F801EE6818}"/>
              </a:ext>
            </a:extLst>
          </p:cNvPr>
          <p:cNvSpPr>
            <a:spLocks noGrp="1"/>
          </p:cNvSpPr>
          <p:nvPr>
            <p:ph type="sldNum" sz="quarter" idx="12"/>
          </p:nvPr>
        </p:nvSpPr>
        <p:spPr/>
        <p:txBody>
          <a:bodyPr/>
          <a:lstStyle/>
          <a:p>
            <a:fld id="{F7C9F074-17E5-44A6-9A1E-401CBC41AB4B}" type="slidenum">
              <a:rPr lang="en-GB" smtClean="0"/>
              <a:t>‹#›</a:t>
            </a:fld>
            <a:endParaRPr lang="en-GB"/>
          </a:p>
        </p:txBody>
      </p:sp>
    </p:spTree>
    <p:extLst>
      <p:ext uri="{BB962C8B-B14F-4D97-AF65-F5344CB8AC3E}">
        <p14:creationId xmlns:p14="http://schemas.microsoft.com/office/powerpoint/2010/main" val="136748968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3D8A4-9CF2-40EC-98D5-54940D06A5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E45A7B2-C07C-4D61-BB7D-8692A835CE1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CE20DB1-4A95-4298-B92D-ADFC9CA8D4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9C65F8B-99BD-4249-A081-6740FF0EB11F}"/>
              </a:ext>
            </a:extLst>
          </p:cNvPr>
          <p:cNvSpPr>
            <a:spLocks noGrp="1"/>
          </p:cNvSpPr>
          <p:nvPr>
            <p:ph type="dt" sz="half" idx="10"/>
          </p:nvPr>
        </p:nvSpPr>
        <p:spPr/>
        <p:txBody>
          <a:bodyPr/>
          <a:lstStyle/>
          <a:p>
            <a:fld id="{E1E79AA3-99E6-40AD-87E3-C06A26743B87}" type="datetimeFigureOut">
              <a:rPr lang="en-GB" smtClean="0"/>
              <a:t>25/07/2022</a:t>
            </a:fld>
            <a:endParaRPr lang="en-GB"/>
          </a:p>
        </p:txBody>
      </p:sp>
      <p:sp>
        <p:nvSpPr>
          <p:cNvPr id="6" name="Footer Placeholder 5">
            <a:extLst>
              <a:ext uri="{FF2B5EF4-FFF2-40B4-BE49-F238E27FC236}">
                <a16:creationId xmlns:a16="http://schemas.microsoft.com/office/drawing/2014/main" id="{0F2F7F24-FE9F-4CA7-9103-1A128F59BE4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5CDFAE1-A223-4172-887A-08142B4043A1}"/>
              </a:ext>
            </a:extLst>
          </p:cNvPr>
          <p:cNvSpPr>
            <a:spLocks noGrp="1"/>
          </p:cNvSpPr>
          <p:nvPr>
            <p:ph type="sldNum" sz="quarter" idx="12"/>
          </p:nvPr>
        </p:nvSpPr>
        <p:spPr/>
        <p:txBody>
          <a:bodyPr/>
          <a:lstStyle/>
          <a:p>
            <a:fld id="{F7C9F074-17E5-44A6-9A1E-401CBC41AB4B}" type="slidenum">
              <a:rPr lang="en-GB" smtClean="0"/>
              <a:t>‹#›</a:t>
            </a:fld>
            <a:endParaRPr lang="en-GB"/>
          </a:p>
        </p:txBody>
      </p:sp>
    </p:spTree>
    <p:extLst>
      <p:ext uri="{BB962C8B-B14F-4D97-AF65-F5344CB8AC3E}">
        <p14:creationId xmlns:p14="http://schemas.microsoft.com/office/powerpoint/2010/main" val="335756871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7BFDE-8FBB-4D2C-BD01-273A6D0BD1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BBD1DE2-4E5D-4A22-B554-47965C4ED67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557AF5-B077-4DDD-9D52-834FB6CBA0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C9A9891-FB2D-483E-9096-0C930A9631A2}"/>
              </a:ext>
            </a:extLst>
          </p:cNvPr>
          <p:cNvSpPr>
            <a:spLocks noGrp="1"/>
          </p:cNvSpPr>
          <p:nvPr>
            <p:ph type="dt" sz="half" idx="10"/>
          </p:nvPr>
        </p:nvSpPr>
        <p:spPr/>
        <p:txBody>
          <a:bodyPr/>
          <a:lstStyle/>
          <a:p>
            <a:fld id="{E1E79AA3-99E6-40AD-87E3-C06A26743B87}" type="datetimeFigureOut">
              <a:rPr lang="en-GB" smtClean="0"/>
              <a:t>25/07/2022</a:t>
            </a:fld>
            <a:endParaRPr lang="en-GB"/>
          </a:p>
        </p:txBody>
      </p:sp>
      <p:sp>
        <p:nvSpPr>
          <p:cNvPr id="6" name="Footer Placeholder 5">
            <a:extLst>
              <a:ext uri="{FF2B5EF4-FFF2-40B4-BE49-F238E27FC236}">
                <a16:creationId xmlns:a16="http://schemas.microsoft.com/office/drawing/2014/main" id="{8792CF14-01D7-46AB-B6AA-62C277EDBD0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266DC60-8D81-4D0E-8DFE-DC86B14508D6}"/>
              </a:ext>
            </a:extLst>
          </p:cNvPr>
          <p:cNvSpPr>
            <a:spLocks noGrp="1"/>
          </p:cNvSpPr>
          <p:nvPr>
            <p:ph type="sldNum" sz="quarter" idx="12"/>
          </p:nvPr>
        </p:nvSpPr>
        <p:spPr/>
        <p:txBody>
          <a:bodyPr/>
          <a:lstStyle/>
          <a:p>
            <a:fld id="{F7C9F074-17E5-44A6-9A1E-401CBC41AB4B}" type="slidenum">
              <a:rPr lang="en-GB" smtClean="0"/>
              <a:t>‹#›</a:t>
            </a:fld>
            <a:endParaRPr lang="en-GB"/>
          </a:p>
        </p:txBody>
      </p:sp>
    </p:spTree>
    <p:extLst>
      <p:ext uri="{BB962C8B-B14F-4D97-AF65-F5344CB8AC3E}">
        <p14:creationId xmlns:p14="http://schemas.microsoft.com/office/powerpoint/2010/main" val="6087136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042AF-95F0-4105-9A51-BDD5010E12A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7403DC6-77E7-48A6-B684-4E517CA519B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0FEDE6C-8157-4EDC-B478-A58BCE52A4AF}"/>
              </a:ext>
            </a:extLst>
          </p:cNvPr>
          <p:cNvSpPr>
            <a:spLocks noGrp="1"/>
          </p:cNvSpPr>
          <p:nvPr>
            <p:ph type="dt" sz="half" idx="10"/>
          </p:nvPr>
        </p:nvSpPr>
        <p:spPr/>
        <p:txBody>
          <a:bodyPr/>
          <a:lstStyle/>
          <a:p>
            <a:fld id="{E1E79AA3-99E6-40AD-87E3-C06A26743B87}" type="datetimeFigureOut">
              <a:rPr lang="en-GB" smtClean="0"/>
              <a:t>25/07/2022</a:t>
            </a:fld>
            <a:endParaRPr lang="en-GB"/>
          </a:p>
        </p:txBody>
      </p:sp>
      <p:sp>
        <p:nvSpPr>
          <p:cNvPr id="5" name="Footer Placeholder 4">
            <a:extLst>
              <a:ext uri="{FF2B5EF4-FFF2-40B4-BE49-F238E27FC236}">
                <a16:creationId xmlns:a16="http://schemas.microsoft.com/office/drawing/2014/main" id="{61AFC9BD-77C2-4165-91BE-684683D28CC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C13412A-6A3A-49EA-92B8-C8CB1A92D9E6}"/>
              </a:ext>
            </a:extLst>
          </p:cNvPr>
          <p:cNvSpPr>
            <a:spLocks noGrp="1"/>
          </p:cNvSpPr>
          <p:nvPr>
            <p:ph type="sldNum" sz="quarter" idx="12"/>
          </p:nvPr>
        </p:nvSpPr>
        <p:spPr/>
        <p:txBody>
          <a:bodyPr/>
          <a:lstStyle/>
          <a:p>
            <a:fld id="{F7C9F074-17E5-44A6-9A1E-401CBC41AB4B}" type="slidenum">
              <a:rPr lang="en-GB" smtClean="0"/>
              <a:t>‹#›</a:t>
            </a:fld>
            <a:endParaRPr lang="en-GB"/>
          </a:p>
        </p:txBody>
      </p:sp>
    </p:spTree>
    <p:extLst>
      <p:ext uri="{BB962C8B-B14F-4D97-AF65-F5344CB8AC3E}">
        <p14:creationId xmlns:p14="http://schemas.microsoft.com/office/powerpoint/2010/main" val="40728208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D6090F1-A182-4458-99AC-5CBF8D1E695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CBED9D8-ED85-4BBA-835D-5A8910C4B34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DFF4F3-8714-4B90-AA0E-1EFFD0F7D57E}"/>
              </a:ext>
            </a:extLst>
          </p:cNvPr>
          <p:cNvSpPr>
            <a:spLocks noGrp="1"/>
          </p:cNvSpPr>
          <p:nvPr>
            <p:ph type="dt" sz="half" idx="10"/>
          </p:nvPr>
        </p:nvSpPr>
        <p:spPr/>
        <p:txBody>
          <a:bodyPr/>
          <a:lstStyle/>
          <a:p>
            <a:fld id="{E1E79AA3-99E6-40AD-87E3-C06A26743B87}" type="datetimeFigureOut">
              <a:rPr lang="en-GB" smtClean="0"/>
              <a:t>25/07/2022</a:t>
            </a:fld>
            <a:endParaRPr lang="en-GB"/>
          </a:p>
        </p:txBody>
      </p:sp>
      <p:sp>
        <p:nvSpPr>
          <p:cNvPr id="5" name="Footer Placeholder 4">
            <a:extLst>
              <a:ext uri="{FF2B5EF4-FFF2-40B4-BE49-F238E27FC236}">
                <a16:creationId xmlns:a16="http://schemas.microsoft.com/office/drawing/2014/main" id="{CA9FB02C-A316-4C82-8AED-068D8C943E4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B804E88-EA6C-469C-A7EB-648FAF179E3C}"/>
              </a:ext>
            </a:extLst>
          </p:cNvPr>
          <p:cNvSpPr>
            <a:spLocks noGrp="1"/>
          </p:cNvSpPr>
          <p:nvPr>
            <p:ph type="sldNum" sz="quarter" idx="12"/>
          </p:nvPr>
        </p:nvSpPr>
        <p:spPr/>
        <p:txBody>
          <a:bodyPr/>
          <a:lstStyle/>
          <a:p>
            <a:fld id="{F7C9F074-17E5-44A6-9A1E-401CBC41AB4B}" type="slidenum">
              <a:rPr lang="en-GB" smtClean="0"/>
              <a:t>‹#›</a:t>
            </a:fld>
            <a:endParaRPr lang="en-GB"/>
          </a:p>
        </p:txBody>
      </p:sp>
    </p:spTree>
    <p:extLst>
      <p:ext uri="{BB962C8B-B14F-4D97-AF65-F5344CB8AC3E}">
        <p14:creationId xmlns:p14="http://schemas.microsoft.com/office/powerpoint/2010/main" val="31692867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628C51-896A-4762-BD9A-EAD0A409153E}"/>
              </a:ext>
            </a:extLst>
          </p:cNvPr>
          <p:cNvPicPr>
            <a:picLocks noChangeAspect="1"/>
          </p:cNvPicPr>
          <p:nvPr/>
        </p:nvPicPr>
        <p:blipFill>
          <a:blip r:embed="rId2"/>
          <a:stretch>
            <a:fillRect/>
          </a:stretch>
        </p:blipFill>
        <p:spPr>
          <a:xfrm>
            <a:off x="0" y="0"/>
            <a:ext cx="12191996" cy="6857998"/>
          </a:xfrm>
          <a:prstGeom prst="rect">
            <a:avLst/>
          </a:prstGeom>
        </p:spPr>
      </p:pic>
      <p:sp>
        <p:nvSpPr>
          <p:cNvPr id="21" name="Rectangle 20">
            <a:extLst>
              <a:ext uri="{FF2B5EF4-FFF2-40B4-BE49-F238E27FC236}">
                <a16:creationId xmlns:a16="http://schemas.microsoft.com/office/drawing/2014/main" id="{6F4289C8-C7B1-40B5-9961-6CF8B9002CE1}"/>
              </a:ext>
            </a:extLst>
          </p:cNvPr>
          <p:cNvSpPr/>
          <p:nvPr/>
        </p:nvSpPr>
        <p:spPr bwMode="auto">
          <a:xfrm>
            <a:off x="0" y="0"/>
            <a:ext cx="12192000" cy="2017712"/>
          </a:xfrm>
          <a:prstGeom prst="rect">
            <a:avLst/>
          </a:prstGeom>
          <a:gradFill>
            <a:gsLst>
              <a:gs pos="98000">
                <a:srgbClr val="000000">
                  <a:alpha val="0"/>
                </a:srgbClr>
              </a:gs>
              <a:gs pos="19000">
                <a:srgbClr val="000000">
                  <a:alpha val="40000"/>
                </a:srgbClr>
              </a:gs>
              <a:gs pos="0">
                <a:srgbClr val="000000">
                  <a:alpha val="6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AF450EE6-E8E7-4616-8251-F987637743D8}"/>
              </a:ext>
            </a:extLst>
          </p:cNvPr>
          <p:cNvSpPr/>
          <p:nvPr/>
        </p:nvSpPr>
        <p:spPr bwMode="auto">
          <a:xfrm rot="10800000">
            <a:off x="-2" y="2870199"/>
            <a:ext cx="12192000" cy="3987800"/>
          </a:xfrm>
          <a:prstGeom prst="rect">
            <a:avLst/>
          </a:prstGeom>
          <a:gradFill>
            <a:gsLst>
              <a:gs pos="33000">
                <a:srgbClr val="000000">
                  <a:alpha val="76000"/>
                </a:srgbClr>
              </a:gs>
              <a:gs pos="0">
                <a:srgbClr val="000000">
                  <a:alpha val="8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E0803156-1DEC-4A13-B99B-3422E553A831}"/>
              </a:ext>
            </a:extLst>
          </p:cNvPr>
          <p:cNvSpPr>
            <a:spLocks noGrp="1"/>
          </p:cNvSpPr>
          <p:nvPr>
            <p:ph type="title"/>
          </p:nvPr>
        </p:nvSpPr>
        <p:spPr>
          <a:xfrm>
            <a:off x="590868" y="3988023"/>
            <a:ext cx="11018520" cy="677108"/>
          </a:xfrm>
        </p:spPr>
        <p:txBody>
          <a:bodyPr vert="horz" wrap="square" lIns="0" tIns="0" rIns="0" bIns="0" rtlCol="0">
            <a:spAutoFit/>
          </a:bodyPr>
          <a:lstStyle>
            <a:lvl1pPr>
              <a:defRPr lang="en-IN" sz="4400" spc="0">
                <a:solidFill>
                  <a:schemeClr val="bg1"/>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endParaRPr lang="en-IN"/>
          </a:p>
        </p:txBody>
      </p:sp>
      <p:sp>
        <p:nvSpPr>
          <p:cNvPr id="13" name="Text Placeholder 5">
            <a:extLst>
              <a:ext uri="{FF2B5EF4-FFF2-40B4-BE49-F238E27FC236}">
                <a16:creationId xmlns:a16="http://schemas.microsoft.com/office/drawing/2014/main" id="{46D0F175-A804-44E4-9CB6-DEA9AAF61F56}"/>
              </a:ext>
            </a:extLst>
          </p:cNvPr>
          <p:cNvSpPr>
            <a:spLocks noGrp="1"/>
          </p:cNvSpPr>
          <p:nvPr>
            <p:ph type="body" sz="quarter" idx="12" hasCustomPrompt="1"/>
          </p:nvPr>
        </p:nvSpPr>
        <p:spPr>
          <a:xfrm>
            <a:off x="584200" y="5363621"/>
            <a:ext cx="11025188" cy="430887"/>
          </a:xfrm>
        </p:spPr>
        <p:txBody>
          <a:bodyPr vert="horz" wrap="square" lIns="0" tIns="0" rIns="0" bIns="0" rtlCol="0">
            <a:spAutoFit/>
          </a:bodyPr>
          <a:lstStyle>
            <a:lvl1pPr marL="0" indent="0">
              <a:buFont typeface="Arial" panose="020B0604020202020204" pitchFamily="34" charset="0"/>
              <a:buNone/>
              <a:defRPr lang="en-US" dirty="0" smtClean="0">
                <a:solidFill>
                  <a:schemeClr val="bg1"/>
                </a:solidFill>
              </a:defRPr>
            </a:lvl1pPr>
            <a:lvl2pPr>
              <a:defRPr lang="en-US" dirty="0" smtClean="0"/>
            </a:lvl2pPr>
            <a:lvl3pPr>
              <a:defRPr lang="en-US" dirty="0" smtClean="0"/>
            </a:lvl3pPr>
            <a:lvl4pPr>
              <a:defRPr lang="en-US" dirty="0" smtClean="0"/>
            </a:lvl4pPr>
            <a:lvl5pPr>
              <a:defRPr lang="en-IN" dirty="0"/>
            </a:lvl5pPr>
          </a:lstStyle>
          <a:p>
            <a:r>
              <a:rPr lang="en-US" sz="2800">
                <a:solidFill>
                  <a:schemeClr val="bg1"/>
                </a:solidFill>
              </a:rPr>
              <a:t>Speaker name</a:t>
            </a:r>
          </a:p>
        </p:txBody>
      </p:sp>
      <p:sp>
        <p:nvSpPr>
          <p:cNvPr id="14" name="Text Placeholder 7">
            <a:extLst>
              <a:ext uri="{FF2B5EF4-FFF2-40B4-BE49-F238E27FC236}">
                <a16:creationId xmlns:a16="http://schemas.microsoft.com/office/drawing/2014/main" id="{5EE714D1-7E5B-4C9D-8863-EA35690B183C}"/>
              </a:ext>
            </a:extLst>
          </p:cNvPr>
          <p:cNvSpPr>
            <a:spLocks noGrp="1"/>
          </p:cNvSpPr>
          <p:nvPr>
            <p:ph type="body" sz="quarter" idx="13" hasCustomPrompt="1"/>
          </p:nvPr>
        </p:nvSpPr>
        <p:spPr>
          <a:xfrm>
            <a:off x="584200" y="5908222"/>
            <a:ext cx="11025188" cy="369332"/>
          </a:xfrm>
        </p:spPr>
        <p:txBody>
          <a:bodyPr/>
          <a:lstStyle>
            <a:lvl1pPr marL="0" indent="0">
              <a:buNone/>
              <a:defRPr lang="en-IN" sz="2400" kern="1200" spc="0" baseline="0" dirty="0">
                <a:solidFill>
                  <a:schemeClr val="bg1"/>
                </a:solidFill>
                <a:latin typeface="+mn-lt"/>
                <a:ea typeface="+mn-ea"/>
                <a:cs typeface="Segoe UI" panose="020B0502040204020203" pitchFamily="34" charset="0"/>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Date</a:t>
            </a:r>
          </a:p>
        </p:txBody>
      </p:sp>
      <p:pic>
        <p:nvPicPr>
          <p:cNvPr id="3" name="Picture 2" descr="Image result for microsoft white logo">
            <a:extLst>
              <a:ext uri="{FF2B5EF4-FFF2-40B4-BE49-F238E27FC236}">
                <a16:creationId xmlns:a16="http://schemas.microsoft.com/office/drawing/2014/main" id="{0E61FF98-961F-4809-93CF-04C0FCC6588F}"/>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564176" y="556531"/>
            <a:ext cx="1551509" cy="374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7384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a:defRPr sz="72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10102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rgbClr val="000000"/>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E3C38696-B7A4-494C-891F-D5957A8EBD90}"/>
              </a:ext>
            </a:extLst>
          </p:cNvPr>
          <p:cNvSpPr>
            <a:spLocks noGrp="1"/>
          </p:cNvSpPr>
          <p:nvPr>
            <p:ph type="ftr" sz="quarter" idx="10"/>
          </p:nvPr>
        </p:nvSpPr>
        <p:spPr>
          <a:xfrm>
            <a:off x="498475" y="6565391"/>
            <a:ext cx="2451100" cy="246221"/>
          </a:xfrm>
        </p:spPr>
        <p:txBody>
          <a:bodyPr/>
          <a:lstStyle/>
          <a:p>
            <a:endParaRPr lang="en-IN"/>
          </a:p>
        </p:txBody>
      </p:sp>
      <p:sp>
        <p:nvSpPr>
          <p:cNvPr id="6" name="Slide Number Placeholder 19">
            <a:extLst>
              <a:ext uri="{FF2B5EF4-FFF2-40B4-BE49-F238E27FC236}">
                <a16:creationId xmlns:a16="http://schemas.microsoft.com/office/drawing/2014/main" id="{93387600-1458-4A0F-9090-B6DD0EF6A771}"/>
              </a:ext>
            </a:extLst>
          </p:cNvPr>
          <p:cNvSpPr>
            <a:spLocks noGrp="1"/>
          </p:cNvSpPr>
          <p:nvPr>
            <p:ph type="sldNum" sz="quarter" idx="20"/>
          </p:nvPr>
        </p:nvSpPr>
        <p:spPr>
          <a:xfrm>
            <a:off x="11671935" y="6565391"/>
            <a:ext cx="380999" cy="246221"/>
          </a:xfr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4970003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303375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solidFill>
                  <a:schemeClr val="tx1"/>
                </a:soli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solidFill>
                  <a:schemeClr val="tx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MS logo gray - EMF">
            <a:extLst>
              <a:ext uri="{FF2B5EF4-FFF2-40B4-BE49-F238E27FC236}">
                <a16:creationId xmlns:a16="http://schemas.microsoft.com/office/drawing/2014/main" id="{E2C2465B-23BC-42FF-9F29-4F04386202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584201" y="585789"/>
            <a:ext cx="1366441" cy="292608"/>
          </a:xfrm>
          <a:prstGeom prst="rect">
            <a:avLst/>
          </a:prstGeom>
        </p:spPr>
      </p:pic>
    </p:spTree>
    <p:extLst>
      <p:ext uri="{BB962C8B-B14F-4D97-AF65-F5344CB8AC3E}">
        <p14:creationId xmlns:p14="http://schemas.microsoft.com/office/powerpoint/2010/main" val="5150505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397845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004892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dirty="0"/>
              <a:t>7/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6919454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583760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83703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97755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6987135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1744423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1729643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569073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1476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0A695F-7F6A-41D9-A136-9FDC1C0AAB60}"/>
              </a:ext>
            </a:extLst>
          </p:cNvPr>
          <p:cNvSpPr>
            <a:spLocks noGrp="1"/>
          </p:cNvSpPr>
          <p:nvPr>
            <p:ph type="ftr" sz="quarter" idx="10"/>
          </p:nvPr>
        </p:nvSpPr>
        <p:spPr/>
        <p:txBody>
          <a:bodyPr/>
          <a:lstStyle/>
          <a:p>
            <a:endParaRPr lang="en-IN"/>
          </a:p>
        </p:txBody>
      </p:sp>
      <p:sp>
        <p:nvSpPr>
          <p:cNvPr id="4" name="Slide Number Placeholder 19">
            <a:extLst>
              <a:ext uri="{FF2B5EF4-FFF2-40B4-BE49-F238E27FC236}">
                <a16:creationId xmlns:a16="http://schemas.microsoft.com/office/drawing/2014/main" id="{92CEEE91-6E41-4CF7-9428-E345F8E9C8D8}"/>
              </a:ext>
            </a:extLst>
          </p:cNvPr>
          <p:cNvSpPr>
            <a:spLocks noGrp="1"/>
          </p:cNvSpPr>
          <p:nvPr>
            <p:ph type="sldNum" sz="quarter" idx="20"/>
          </p:nvPr>
        </p:nvSpPr>
        <p:spPr>
          <a:xfrm>
            <a:off x="11671935" y="6565391"/>
            <a:ext cx="380999" cy="246221"/>
          </a:xfr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724154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99388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A61015F-7CC6-4D0A-9D87-873EA4C304CC}" type="datetimeFigureOut">
              <a:rPr lang="en-US" dirty="0"/>
              <a:t>7/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71214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lumMod val="75000"/>
          </a:schemeClr>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62363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8547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53044252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10" name="Rectangle 9"/>
          <p:cNvSpPr/>
          <p:nvPr userDrawn="1"/>
        </p:nvSpPr>
        <p:spPr>
          <a:xfrm>
            <a:off x="146305" y="146050"/>
            <a:ext cx="11904408" cy="6059678"/>
          </a:xfrm>
          <a:prstGeom prst="rect">
            <a:avLst/>
          </a:prstGeom>
          <a:gradFill flip="none" rotWithShape="1">
            <a:gsLst>
              <a:gs pos="30000">
                <a:schemeClr val="tx1">
                  <a:alpha val="55000"/>
                </a:schemeClr>
              </a:gs>
              <a:gs pos="100000">
                <a:schemeClr val="bg2">
                  <a:alpha val="4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0" hasCustomPrompt="1"/>
          </p:nvPr>
        </p:nvSpPr>
        <p:spPr>
          <a:xfrm>
            <a:off x="511174" y="2153941"/>
            <a:ext cx="7475121" cy="1694731"/>
          </a:xfrm>
        </p:spPr>
        <p:txBody>
          <a:bodyPr>
            <a:normAutofit/>
          </a:bodyPr>
          <a:lstStyle>
            <a:lvl1pPr marL="0" indent="0">
              <a:buNone/>
              <a:defRPr sz="1400" baseline="0">
                <a:solidFill>
                  <a:schemeClr val="bg1"/>
                </a:solidFill>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body text</a:t>
            </a:r>
          </a:p>
        </p:txBody>
      </p:sp>
      <p:sp>
        <p:nvSpPr>
          <p:cNvPr id="19" name="Rectangle 18"/>
          <p:cNvSpPr/>
          <p:nvPr userDrawn="1"/>
        </p:nvSpPr>
        <p:spPr>
          <a:xfrm>
            <a:off x="8351519" y="1"/>
            <a:ext cx="384048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13"/>
          <p:cNvSpPr/>
          <p:nvPr userDrawn="1"/>
        </p:nvSpPr>
        <p:spPr>
          <a:xfrm>
            <a:off x="8351519" y="146051"/>
            <a:ext cx="3693843" cy="4313467"/>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Text Placeholder 13"/>
          <p:cNvSpPr>
            <a:spLocks noGrp="1"/>
          </p:cNvSpPr>
          <p:nvPr>
            <p:ph type="body" sz="quarter" idx="11" hasCustomPrompt="1"/>
          </p:nvPr>
        </p:nvSpPr>
        <p:spPr>
          <a:xfrm>
            <a:off x="8705848" y="438912"/>
            <a:ext cx="3015730" cy="3076817"/>
          </a:xfrm>
        </p:spPr>
        <p:txBody>
          <a:bodyPr anchor="ctr">
            <a:normAutofit/>
          </a:bodyPr>
          <a:lstStyle>
            <a:lvl1pPr marL="91440" indent="-91440">
              <a:lnSpc>
                <a:spcPct val="120000"/>
              </a:lnSpc>
              <a:spcBef>
                <a:spcPts val="0"/>
              </a:spcBef>
              <a:buNone/>
              <a:defRPr sz="1800">
                <a:solidFill>
                  <a:schemeClr val="bg1"/>
                </a:solidFill>
                <a:latin typeface="+mj-lt"/>
              </a:defRPr>
            </a:lvl1pPr>
          </a:lstStyle>
          <a:p>
            <a:pPr lvl="0"/>
            <a:r>
              <a:rPr lang="en-US"/>
              <a:t>“Click to edit callout quote”</a:t>
            </a:r>
          </a:p>
        </p:txBody>
      </p:sp>
      <p:sp>
        <p:nvSpPr>
          <p:cNvPr id="21" name="Text Placeholder 20"/>
          <p:cNvSpPr>
            <a:spLocks noGrp="1"/>
          </p:cNvSpPr>
          <p:nvPr>
            <p:ph type="body" sz="quarter" idx="14" hasCustomPrompt="1"/>
          </p:nvPr>
        </p:nvSpPr>
        <p:spPr>
          <a:xfrm>
            <a:off x="8705848" y="3599434"/>
            <a:ext cx="3015236" cy="249238"/>
          </a:xfrm>
        </p:spPr>
        <p:txBody>
          <a:bodyPr>
            <a:noAutofit/>
          </a:bodyPr>
          <a:lstStyle>
            <a:lvl1pPr marL="0" indent="0" algn="r">
              <a:buNone/>
              <a:defRPr sz="1200" b="1" baseline="0">
                <a:solidFill>
                  <a:schemeClr val="bg1"/>
                </a:solidFill>
                <a:latin typeface="+mn-lt"/>
              </a:defRPr>
            </a:lvl1pPr>
          </a:lstStyle>
          <a:p>
            <a:pPr lvl="0"/>
            <a:r>
              <a:rPr lang="en-US">
                <a:latin typeface="Segoe UI" panose="020B0502040204020203" pitchFamily="34" charset="0"/>
                <a:cs typeface="Segoe UI" panose="020B0502040204020203" pitchFamily="34" charset="0"/>
              </a:rPr>
              <a:t>—</a:t>
            </a:r>
            <a:r>
              <a:rPr lang="en-US"/>
              <a:t>Click to add attribution</a:t>
            </a:r>
          </a:p>
        </p:txBody>
      </p:sp>
      <p:grpSp>
        <p:nvGrpSpPr>
          <p:cNvPr id="12" name="Group 11"/>
          <p:cNvGrpSpPr/>
          <p:nvPr userDrawn="1"/>
        </p:nvGrpSpPr>
        <p:grpSpPr>
          <a:xfrm>
            <a:off x="0" y="0"/>
            <a:ext cx="12192002" cy="6858000"/>
            <a:chOff x="0" y="0"/>
            <a:chExt cx="12192002" cy="6858000"/>
          </a:xfrm>
        </p:grpSpPr>
        <p:sp>
          <p:nvSpPr>
            <p:cNvPr id="13" name="Rectangle 12"/>
            <p:cNvSpPr/>
            <p:nvPr/>
          </p:nvSpPr>
          <p:spPr>
            <a:xfrm>
              <a:off x="0" y="6202363"/>
              <a:ext cx="12192000" cy="655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15"/>
            <p:cNvSpPr/>
            <p:nvPr/>
          </p:nvSpPr>
          <p:spPr>
            <a:xfrm>
              <a:off x="0" y="0"/>
              <a:ext cx="146305" cy="6486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a:xfrm>
              <a:off x="12045695" y="0"/>
              <a:ext cx="146305" cy="6486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17"/>
            <p:cNvSpPr/>
            <p:nvPr/>
          </p:nvSpPr>
          <p:spPr>
            <a:xfrm rot="5400000">
              <a:off x="6059551" y="-5986399"/>
              <a:ext cx="146051" cy="12118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2" name="Content Placeholder 3"/>
          <p:cNvSpPr>
            <a:spLocks noGrp="1"/>
          </p:cNvSpPr>
          <p:nvPr>
            <p:ph sz="quarter" idx="15" hasCustomPrompt="1"/>
          </p:nvPr>
        </p:nvSpPr>
        <p:spPr>
          <a:xfrm>
            <a:off x="8705850" y="4710698"/>
            <a:ext cx="2836863" cy="988782"/>
          </a:xfrm>
        </p:spPr>
        <p:txBody>
          <a:bodyPr anchor="ctr">
            <a:normAutofit/>
          </a:bodyPr>
          <a:lstStyle>
            <a:lvl1pPr marL="0" indent="0" algn="ctr">
              <a:buNone/>
              <a:defRPr sz="1200"/>
            </a:lvl1pPr>
          </a:lstStyle>
          <a:p>
            <a:pPr lvl="0"/>
            <a:r>
              <a:rPr lang="en-US"/>
              <a:t>Click picture icon to add partner logo</a:t>
            </a:r>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2163" y="6345152"/>
            <a:ext cx="1124826" cy="413760"/>
          </a:xfrm>
          <a:prstGeom prst="rect">
            <a:avLst/>
          </a:prstGeom>
        </p:spPr>
      </p:pic>
      <p:sp>
        <p:nvSpPr>
          <p:cNvPr id="30" name="Text Placeholder 4"/>
          <p:cNvSpPr>
            <a:spLocks noGrp="1"/>
          </p:cNvSpPr>
          <p:nvPr>
            <p:ph type="body" sz="quarter" idx="21" hasCustomPrompt="1"/>
          </p:nvPr>
        </p:nvSpPr>
        <p:spPr>
          <a:xfrm>
            <a:off x="8705848" y="5950660"/>
            <a:ext cx="2836865" cy="251703"/>
          </a:xfrm>
        </p:spPr>
        <p:txBody>
          <a:bodyPr numCol="1" spcCol="0" anchor="ctr" anchorCtr="0">
            <a:noAutofit/>
          </a:bodyPr>
          <a:lstStyle>
            <a:lvl1pPr marL="0" indent="0" algn="ctr">
              <a:buNone/>
              <a:defRPr sz="1200" b="0" u="sng" spc="0" baseline="0">
                <a:solidFill>
                  <a:srgbClr val="DA3F26"/>
                </a:solidFill>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nter customer website</a:t>
            </a:r>
          </a:p>
        </p:txBody>
      </p:sp>
      <p:sp>
        <p:nvSpPr>
          <p:cNvPr id="31" name="Text Placeholder 4"/>
          <p:cNvSpPr>
            <a:spLocks noGrp="1"/>
          </p:cNvSpPr>
          <p:nvPr>
            <p:ph type="body" sz="quarter" idx="22" hasCustomPrompt="1"/>
          </p:nvPr>
        </p:nvSpPr>
        <p:spPr>
          <a:xfrm>
            <a:off x="511175" y="4779264"/>
            <a:ext cx="1463929" cy="1142684"/>
          </a:xfrm>
        </p:spPr>
        <p:txBody>
          <a:bodyPr numCol="1" spcCol="0">
            <a:normAutofit/>
          </a:bodyPr>
          <a:lstStyle>
            <a:lvl1pPr marL="0" indent="0">
              <a:buNone/>
              <a:defRPr sz="1000" b="0" spc="0" baseline="0">
                <a:solidFill>
                  <a:schemeClr val="bg1"/>
                </a:solidFill>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add text</a:t>
            </a:r>
          </a:p>
        </p:txBody>
      </p:sp>
      <p:sp>
        <p:nvSpPr>
          <p:cNvPr id="36" name="TextBox 35"/>
          <p:cNvSpPr txBox="1"/>
          <p:nvPr userDrawn="1"/>
        </p:nvSpPr>
        <p:spPr>
          <a:xfrm>
            <a:off x="510640" y="4523095"/>
            <a:ext cx="1321196" cy="246221"/>
          </a:xfrm>
          <a:prstGeom prst="rect">
            <a:avLst/>
          </a:prstGeom>
          <a:noFill/>
        </p:spPr>
        <p:txBody>
          <a:bodyPr wrap="none" rtlCol="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Products and Services</a:t>
            </a:r>
          </a:p>
        </p:txBody>
      </p:sp>
      <p:sp>
        <p:nvSpPr>
          <p:cNvPr id="37" name="TextBox 36"/>
          <p:cNvSpPr txBox="1"/>
          <p:nvPr userDrawn="1"/>
        </p:nvSpPr>
        <p:spPr>
          <a:xfrm>
            <a:off x="2041493" y="4523095"/>
            <a:ext cx="1083951" cy="246221"/>
          </a:xfrm>
          <a:prstGeom prst="rect">
            <a:avLst/>
          </a:prstGeom>
          <a:noFill/>
        </p:spPr>
        <p:txBody>
          <a:bodyPr wrap="none" rtlCol="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Organization Size</a:t>
            </a:r>
          </a:p>
        </p:txBody>
      </p:sp>
      <p:sp>
        <p:nvSpPr>
          <p:cNvPr id="39" name="TextBox 38"/>
          <p:cNvSpPr txBox="1"/>
          <p:nvPr userDrawn="1"/>
        </p:nvSpPr>
        <p:spPr>
          <a:xfrm>
            <a:off x="3571811" y="4523095"/>
            <a:ext cx="684803" cy="246221"/>
          </a:xfrm>
          <a:prstGeom prst="rect">
            <a:avLst/>
          </a:prstGeom>
          <a:noFill/>
        </p:spPr>
        <p:txBody>
          <a:bodyPr wrap="none" rtlCol="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Industry</a:t>
            </a:r>
          </a:p>
        </p:txBody>
      </p:sp>
      <p:sp>
        <p:nvSpPr>
          <p:cNvPr id="40" name="TextBox 39"/>
          <p:cNvSpPr txBox="1"/>
          <p:nvPr userDrawn="1"/>
        </p:nvSpPr>
        <p:spPr>
          <a:xfrm>
            <a:off x="5102129" y="4523095"/>
            <a:ext cx="601447" cy="246221"/>
          </a:xfrm>
          <a:prstGeom prst="rect">
            <a:avLst/>
          </a:prstGeom>
          <a:noFill/>
        </p:spPr>
        <p:txBody>
          <a:bodyPr wrap="none" rtlCol="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Country</a:t>
            </a:r>
          </a:p>
        </p:txBody>
      </p:sp>
      <p:sp>
        <p:nvSpPr>
          <p:cNvPr id="42" name="TextBox 41"/>
          <p:cNvSpPr txBox="1"/>
          <p:nvPr userDrawn="1"/>
        </p:nvSpPr>
        <p:spPr>
          <a:xfrm>
            <a:off x="6632449" y="4523095"/>
            <a:ext cx="575799" cy="246221"/>
          </a:xfrm>
          <a:prstGeom prst="rect">
            <a:avLst/>
          </a:prstGeom>
          <a:noFill/>
        </p:spPr>
        <p:txBody>
          <a:bodyPr wrap="none" rtlCol="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Partner</a:t>
            </a:r>
          </a:p>
        </p:txBody>
      </p:sp>
      <p:sp>
        <p:nvSpPr>
          <p:cNvPr id="27" name="Text Placeholder 4"/>
          <p:cNvSpPr>
            <a:spLocks noGrp="1"/>
          </p:cNvSpPr>
          <p:nvPr>
            <p:ph type="body" sz="quarter" idx="23" hasCustomPrompt="1"/>
          </p:nvPr>
        </p:nvSpPr>
        <p:spPr>
          <a:xfrm>
            <a:off x="2041493" y="4779264"/>
            <a:ext cx="1463929" cy="1142684"/>
          </a:xfrm>
        </p:spPr>
        <p:txBody>
          <a:bodyPr numCol="1" spcCol="0">
            <a:normAutofit/>
          </a:bodyPr>
          <a:lstStyle>
            <a:lvl1pPr marL="0" indent="0">
              <a:buNone/>
              <a:defRPr sz="1000" b="0" spc="0" baseline="0">
                <a:solidFill>
                  <a:schemeClr val="bg1"/>
                </a:solidFill>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add text</a:t>
            </a:r>
          </a:p>
        </p:txBody>
      </p:sp>
      <p:sp>
        <p:nvSpPr>
          <p:cNvPr id="29" name="Text Placeholder 4"/>
          <p:cNvSpPr>
            <a:spLocks noGrp="1"/>
          </p:cNvSpPr>
          <p:nvPr>
            <p:ph type="body" sz="quarter" idx="24" hasCustomPrompt="1"/>
          </p:nvPr>
        </p:nvSpPr>
        <p:spPr>
          <a:xfrm>
            <a:off x="3571811" y="4779264"/>
            <a:ext cx="1463929" cy="1142684"/>
          </a:xfrm>
        </p:spPr>
        <p:txBody>
          <a:bodyPr numCol="1" spcCol="0">
            <a:normAutofit/>
          </a:bodyPr>
          <a:lstStyle>
            <a:lvl1pPr marL="0" indent="0">
              <a:buNone/>
              <a:defRPr sz="1000" b="0" spc="0" baseline="0">
                <a:solidFill>
                  <a:schemeClr val="bg1"/>
                </a:solidFill>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add text</a:t>
            </a:r>
          </a:p>
        </p:txBody>
      </p:sp>
      <p:sp>
        <p:nvSpPr>
          <p:cNvPr id="38" name="Text Placeholder 4"/>
          <p:cNvSpPr>
            <a:spLocks noGrp="1"/>
          </p:cNvSpPr>
          <p:nvPr>
            <p:ph type="body" sz="quarter" idx="25" hasCustomPrompt="1"/>
          </p:nvPr>
        </p:nvSpPr>
        <p:spPr>
          <a:xfrm>
            <a:off x="5102129" y="4779264"/>
            <a:ext cx="1463929" cy="1142684"/>
          </a:xfrm>
        </p:spPr>
        <p:txBody>
          <a:bodyPr numCol="1" spcCol="0">
            <a:normAutofit/>
          </a:bodyPr>
          <a:lstStyle>
            <a:lvl1pPr marL="0" indent="0">
              <a:buNone/>
              <a:defRPr sz="1000" b="0" spc="0" baseline="0">
                <a:solidFill>
                  <a:schemeClr val="bg1"/>
                </a:solidFill>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add text</a:t>
            </a:r>
          </a:p>
        </p:txBody>
      </p:sp>
      <p:sp>
        <p:nvSpPr>
          <p:cNvPr id="41" name="Text Placeholder 4"/>
          <p:cNvSpPr>
            <a:spLocks noGrp="1"/>
          </p:cNvSpPr>
          <p:nvPr>
            <p:ph type="body" sz="quarter" idx="26" hasCustomPrompt="1"/>
          </p:nvPr>
        </p:nvSpPr>
        <p:spPr>
          <a:xfrm>
            <a:off x="6632450" y="4779264"/>
            <a:ext cx="1353846" cy="1142684"/>
          </a:xfrm>
        </p:spPr>
        <p:txBody>
          <a:bodyPr numCol="1" spcCol="0">
            <a:normAutofit/>
          </a:bodyPr>
          <a:lstStyle>
            <a:lvl1pPr marL="0" indent="0">
              <a:buNone/>
              <a:defRPr sz="1000" b="0" spc="0" baseline="0">
                <a:solidFill>
                  <a:schemeClr val="bg1"/>
                </a:solidFill>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add text</a:t>
            </a:r>
          </a:p>
        </p:txBody>
      </p:sp>
      <p:sp>
        <p:nvSpPr>
          <p:cNvPr id="43" name="Title 1"/>
          <p:cNvSpPr>
            <a:spLocks noGrp="1"/>
          </p:cNvSpPr>
          <p:nvPr>
            <p:ph type="ctrTitle" hasCustomPrompt="1"/>
          </p:nvPr>
        </p:nvSpPr>
        <p:spPr>
          <a:xfrm>
            <a:off x="511174" y="1054491"/>
            <a:ext cx="7475121" cy="968566"/>
          </a:xfrm>
        </p:spPr>
        <p:txBody>
          <a:bodyPr anchor="t">
            <a:normAutofit/>
          </a:bodyPr>
          <a:lstStyle>
            <a:lvl1pPr algn="l">
              <a:defRPr sz="2800" baseline="0">
                <a:solidFill>
                  <a:schemeClr val="bg1"/>
                </a:solidFill>
              </a:defRPr>
            </a:lvl1pPr>
          </a:lstStyle>
          <a:p>
            <a:r>
              <a:rPr lang="en-US"/>
              <a:t>Click to edit one or two line title here lorem ipsum sit dolor </a:t>
            </a:r>
            <a:r>
              <a:rPr lang="en-US" err="1"/>
              <a:t>amet</a:t>
            </a:r>
            <a:r>
              <a:rPr lang="en-US"/>
              <a:t>, </a:t>
            </a:r>
            <a:r>
              <a:rPr lang="en-US" err="1"/>
              <a:t>consectetur</a:t>
            </a:r>
            <a:r>
              <a:rPr lang="en-US"/>
              <a:t>.</a:t>
            </a:r>
          </a:p>
        </p:txBody>
      </p:sp>
    </p:spTree>
    <p:extLst>
      <p:ext uri="{BB962C8B-B14F-4D97-AF65-F5344CB8AC3E}">
        <p14:creationId xmlns:p14="http://schemas.microsoft.com/office/powerpoint/2010/main" val="9566584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5561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953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1791121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8" name="Graphic 2">
            <a:extLst>
              <a:ext uri="{FF2B5EF4-FFF2-40B4-BE49-F238E27FC236}">
                <a16:creationId xmlns:a16="http://schemas.microsoft.com/office/drawing/2014/main" id="{C03FC165-ED07-4A84-AFC1-35D9FAE3A0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5601" y="6299201"/>
            <a:ext cx="1555750" cy="333375"/>
          </a:xfrm>
          <a:prstGeom prst="rect">
            <a:avLst/>
          </a:prstGeom>
        </p:spPr>
      </p:pic>
      <p:sp>
        <p:nvSpPr>
          <p:cNvPr id="9" name="TextBox 3">
            <a:extLst>
              <a:ext uri="{FF2B5EF4-FFF2-40B4-BE49-F238E27FC236}">
                <a16:creationId xmlns:a16="http://schemas.microsoft.com/office/drawing/2014/main" id="{89C82E95-D4B5-4ED3-875F-4B7171173CAA}"/>
              </a:ext>
            </a:extLst>
          </p:cNvPr>
          <p:cNvSpPr txBox="1">
            <a:spLocks noChangeArrowheads="1"/>
          </p:cNvSpPr>
          <p:nvPr userDrawn="1"/>
        </p:nvSpPr>
        <p:spPr bwMode="auto">
          <a:xfrm>
            <a:off x="3380268" y="4877604"/>
            <a:ext cx="1905000"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1">
                <a:solidFill>
                  <a:srgbClr val="243A5E"/>
                </a:solidFill>
                <a:latin typeface="Segoe UI Semibold" panose="020B0702040204020203" pitchFamily="34" charset="0"/>
                <a:cs typeface="Segoe UI Semibold" panose="020B0702040204020203" pitchFamily="34" charset="0"/>
              </a:rPr>
              <a:t>Situation:</a:t>
            </a:r>
          </a:p>
        </p:txBody>
      </p:sp>
      <p:sp>
        <p:nvSpPr>
          <p:cNvPr id="10" name="TextBox 4">
            <a:extLst>
              <a:ext uri="{FF2B5EF4-FFF2-40B4-BE49-F238E27FC236}">
                <a16:creationId xmlns:a16="http://schemas.microsoft.com/office/drawing/2014/main" id="{868720E5-09D6-4D4F-A04D-7F3C57C6CCD0}"/>
              </a:ext>
            </a:extLst>
          </p:cNvPr>
          <p:cNvSpPr txBox="1">
            <a:spLocks noChangeArrowheads="1"/>
          </p:cNvSpPr>
          <p:nvPr userDrawn="1"/>
        </p:nvSpPr>
        <p:spPr bwMode="auto">
          <a:xfrm>
            <a:off x="6216700" y="4872129"/>
            <a:ext cx="1905000"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1">
                <a:solidFill>
                  <a:srgbClr val="243A5E"/>
                </a:solidFill>
                <a:latin typeface="Segoe UI Semibold" panose="020B0702040204020203" pitchFamily="34" charset="0"/>
                <a:cs typeface="Segoe UI Semibold" panose="020B0702040204020203" pitchFamily="34" charset="0"/>
              </a:rPr>
              <a:t>Solution:</a:t>
            </a:r>
          </a:p>
        </p:txBody>
      </p:sp>
      <p:sp>
        <p:nvSpPr>
          <p:cNvPr id="11" name="TextBox 5">
            <a:extLst>
              <a:ext uri="{FF2B5EF4-FFF2-40B4-BE49-F238E27FC236}">
                <a16:creationId xmlns:a16="http://schemas.microsoft.com/office/drawing/2014/main" id="{D82AEEC4-DB27-4A14-8797-2BBD0801B2FA}"/>
              </a:ext>
            </a:extLst>
          </p:cNvPr>
          <p:cNvSpPr txBox="1">
            <a:spLocks noChangeArrowheads="1"/>
          </p:cNvSpPr>
          <p:nvPr userDrawn="1"/>
        </p:nvSpPr>
        <p:spPr bwMode="auto">
          <a:xfrm>
            <a:off x="9103523" y="4877604"/>
            <a:ext cx="1906588"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1">
                <a:solidFill>
                  <a:srgbClr val="243A5E"/>
                </a:solidFill>
                <a:latin typeface="Segoe UI Semibold" panose="020B0702040204020203" pitchFamily="34" charset="0"/>
                <a:cs typeface="Segoe UI Semibold" panose="020B0702040204020203" pitchFamily="34" charset="0"/>
              </a:rPr>
              <a:t>Impact:</a:t>
            </a:r>
          </a:p>
        </p:txBody>
      </p:sp>
      <p:sp>
        <p:nvSpPr>
          <p:cNvPr id="17" name="Picture Placeholder 4">
            <a:extLst>
              <a:ext uri="{FF2B5EF4-FFF2-40B4-BE49-F238E27FC236}">
                <a16:creationId xmlns:a16="http://schemas.microsoft.com/office/drawing/2014/main" id="{9CEA4D7D-0A3C-44B6-8E8F-CACF31513163}"/>
              </a:ext>
            </a:extLst>
          </p:cNvPr>
          <p:cNvSpPr>
            <a:spLocks noGrp="1" noChangeAspect="1"/>
          </p:cNvSpPr>
          <p:nvPr>
            <p:ph type="pic" sz="quarter" idx="23" hasCustomPrompt="1"/>
          </p:nvPr>
        </p:nvSpPr>
        <p:spPr>
          <a:xfrm>
            <a:off x="401737" y="436245"/>
            <a:ext cx="1919853" cy="1299472"/>
          </a:xfrm>
          <a:prstGeom prst="rect">
            <a:avLst/>
          </a:prstGeom>
        </p:spPr>
        <p:txBody>
          <a:bodyPr/>
          <a:lstStyle>
            <a:lvl1pPr marL="0" indent="0">
              <a:buNone/>
              <a:defRPr/>
            </a:lvl1pPr>
          </a:lstStyle>
          <a:p>
            <a:pPr lvl="0"/>
            <a:r>
              <a:rPr lang="en-US" noProof="0"/>
              <a:t>Logo</a:t>
            </a:r>
          </a:p>
        </p:txBody>
      </p:sp>
      <p:sp>
        <p:nvSpPr>
          <p:cNvPr id="18" name="Picture Placeholder 6">
            <a:extLst>
              <a:ext uri="{FF2B5EF4-FFF2-40B4-BE49-F238E27FC236}">
                <a16:creationId xmlns:a16="http://schemas.microsoft.com/office/drawing/2014/main" id="{508881ED-0454-4AE2-8549-FB9BF0DC59D4}"/>
              </a:ext>
            </a:extLst>
          </p:cNvPr>
          <p:cNvSpPr>
            <a:spLocks noGrp="1" noChangeAspect="1"/>
          </p:cNvSpPr>
          <p:nvPr>
            <p:ph type="pic" sz="quarter" idx="24"/>
          </p:nvPr>
        </p:nvSpPr>
        <p:spPr>
          <a:xfrm>
            <a:off x="2869251" y="0"/>
            <a:ext cx="9322749" cy="2533520"/>
          </a:xfrm>
          <a:prstGeom prst="rect">
            <a:avLst/>
          </a:prstGeom>
        </p:spPr>
        <p:txBody>
          <a:bodyPr/>
          <a:lstStyle>
            <a:lvl1pPr marL="0" indent="0">
              <a:buNone/>
              <a:defRPr/>
            </a:lvl1pPr>
          </a:lstStyle>
          <a:p>
            <a:pPr lvl="0"/>
            <a:r>
              <a:rPr lang="en-US" noProof="0"/>
              <a:t>Click icon to add picture</a:t>
            </a:r>
          </a:p>
        </p:txBody>
      </p:sp>
      <p:sp>
        <p:nvSpPr>
          <p:cNvPr id="19" name="Text Placeholder 44">
            <a:extLst>
              <a:ext uri="{FF2B5EF4-FFF2-40B4-BE49-F238E27FC236}">
                <a16:creationId xmlns:a16="http://schemas.microsoft.com/office/drawing/2014/main" id="{A17C1AD2-6080-47D7-8C66-A0F1669C9A87}"/>
              </a:ext>
            </a:extLst>
          </p:cNvPr>
          <p:cNvSpPr>
            <a:spLocks noGrp="1"/>
          </p:cNvSpPr>
          <p:nvPr>
            <p:ph type="body" sz="quarter" idx="18" hasCustomPrompt="1"/>
          </p:nvPr>
        </p:nvSpPr>
        <p:spPr>
          <a:xfrm>
            <a:off x="310298" y="2533520"/>
            <a:ext cx="2285999" cy="3460882"/>
          </a:xfrm>
          <a:prstGeom prst="rect">
            <a:avLst/>
          </a:prstGeom>
        </p:spPr>
        <p:txBody>
          <a:bodyPr lIns="0" tIns="0" rIns="0" bIns="0" anchor="t"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r>
              <a:rPr lang="en-US"/>
              <a:t>Customer facts</a:t>
            </a:r>
          </a:p>
        </p:txBody>
      </p:sp>
      <p:sp>
        <p:nvSpPr>
          <p:cNvPr id="20" name="Rectangle 19">
            <a:extLst>
              <a:ext uri="{FF2B5EF4-FFF2-40B4-BE49-F238E27FC236}">
                <a16:creationId xmlns:a16="http://schemas.microsoft.com/office/drawing/2014/main" id="{6E30D908-928D-4617-9649-B74D9A420399}"/>
              </a:ext>
            </a:extLst>
          </p:cNvPr>
          <p:cNvSpPr/>
          <p:nvPr userDrawn="1"/>
        </p:nvSpPr>
        <p:spPr>
          <a:xfrm>
            <a:off x="2834563" y="0"/>
            <a:ext cx="54000" cy="685800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Text Placeholder 11">
            <a:extLst>
              <a:ext uri="{FF2B5EF4-FFF2-40B4-BE49-F238E27FC236}">
                <a16:creationId xmlns:a16="http://schemas.microsoft.com/office/drawing/2014/main" id="{81DAE9E0-E367-4E54-BEDF-140EE7FFF822}"/>
              </a:ext>
            </a:extLst>
          </p:cNvPr>
          <p:cNvSpPr>
            <a:spLocks noGrp="1"/>
          </p:cNvSpPr>
          <p:nvPr>
            <p:ph type="body" sz="quarter" idx="12"/>
          </p:nvPr>
        </p:nvSpPr>
        <p:spPr>
          <a:xfrm>
            <a:off x="3268665" y="5177775"/>
            <a:ext cx="2537401" cy="1470009"/>
          </a:xfrm>
        </p:spPr>
        <p:txBody>
          <a:bodyPr>
            <a:noAutofit/>
          </a:bodyPr>
          <a:lstStyle>
            <a:lvl1pPr marL="0" indent="0">
              <a:buNone/>
              <a:defRPr/>
            </a:lvl1pPr>
          </a:lstStyle>
          <a:p>
            <a:endParaRPr lang="en-CA" sz="1400"/>
          </a:p>
        </p:txBody>
      </p:sp>
      <p:sp>
        <p:nvSpPr>
          <p:cNvPr id="24" name="Text Placeholder 13">
            <a:extLst>
              <a:ext uri="{FF2B5EF4-FFF2-40B4-BE49-F238E27FC236}">
                <a16:creationId xmlns:a16="http://schemas.microsoft.com/office/drawing/2014/main" id="{550A497C-A39C-4C3D-B172-AED3E0E50B44}"/>
              </a:ext>
            </a:extLst>
          </p:cNvPr>
          <p:cNvSpPr>
            <a:spLocks noGrp="1"/>
          </p:cNvSpPr>
          <p:nvPr>
            <p:ph type="body" sz="quarter" idx="21"/>
          </p:nvPr>
        </p:nvSpPr>
        <p:spPr>
          <a:xfrm>
            <a:off x="6135771" y="5177775"/>
            <a:ext cx="2537401" cy="1470009"/>
          </a:xfrm>
        </p:spPr>
        <p:txBody>
          <a:bodyPr>
            <a:noAutofit/>
          </a:bodyPr>
          <a:lstStyle>
            <a:lvl1pPr marL="0" indent="0">
              <a:buNone/>
              <a:defRPr/>
            </a:lvl1pPr>
          </a:lstStyle>
          <a:p>
            <a:endParaRPr lang="en-CA" sz="1400">
              <a:latin typeface="Segoe UI" panose="020B0502040204020203" pitchFamily="34" charset="0"/>
              <a:cs typeface="Segoe UI" panose="020B0502040204020203" pitchFamily="34" charset="0"/>
            </a:endParaRPr>
          </a:p>
        </p:txBody>
      </p:sp>
      <p:cxnSp>
        <p:nvCxnSpPr>
          <p:cNvPr id="25" name="Straight Connector 24">
            <a:extLst>
              <a:ext uri="{FF2B5EF4-FFF2-40B4-BE49-F238E27FC236}">
                <a16:creationId xmlns:a16="http://schemas.microsoft.com/office/drawing/2014/main" id="{A3B4F029-5DC8-4763-9544-26A7C49C7763}"/>
              </a:ext>
            </a:extLst>
          </p:cNvPr>
          <p:cNvCxnSpPr>
            <a:cxnSpLocks/>
          </p:cNvCxnSpPr>
          <p:nvPr userDrawn="1"/>
        </p:nvCxnSpPr>
        <p:spPr>
          <a:xfrm>
            <a:off x="5974192" y="4894790"/>
            <a:ext cx="0" cy="181197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65D6195-6171-4072-A9B3-FF4087779E14}"/>
              </a:ext>
            </a:extLst>
          </p:cNvPr>
          <p:cNvCxnSpPr>
            <a:cxnSpLocks/>
          </p:cNvCxnSpPr>
          <p:nvPr userDrawn="1"/>
        </p:nvCxnSpPr>
        <p:spPr>
          <a:xfrm>
            <a:off x="8862604" y="4894790"/>
            <a:ext cx="0" cy="181197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01478B8-F690-4668-8BBF-182FE48D908C}"/>
              </a:ext>
            </a:extLst>
          </p:cNvPr>
          <p:cNvSpPr/>
          <p:nvPr userDrawn="1"/>
        </p:nvSpPr>
        <p:spPr>
          <a:xfrm>
            <a:off x="2861563" y="2535418"/>
            <a:ext cx="9330437" cy="1961824"/>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 Placeholder 24">
            <a:extLst>
              <a:ext uri="{FF2B5EF4-FFF2-40B4-BE49-F238E27FC236}">
                <a16:creationId xmlns:a16="http://schemas.microsoft.com/office/drawing/2014/main" id="{14169DEF-3376-4ED1-9358-8A4765ADF0DD}"/>
              </a:ext>
            </a:extLst>
          </p:cNvPr>
          <p:cNvSpPr>
            <a:spLocks noGrp="1"/>
          </p:cNvSpPr>
          <p:nvPr>
            <p:ph type="body" sz="quarter" idx="10" hasCustomPrompt="1"/>
          </p:nvPr>
        </p:nvSpPr>
        <p:spPr>
          <a:xfrm>
            <a:off x="3268760" y="3013869"/>
            <a:ext cx="8477410" cy="830262"/>
          </a:xfrm>
          <a:prstGeom prst="rect">
            <a:avLst/>
          </a:prstGeom>
        </p:spPr>
        <p:txBody>
          <a:bodyPr lIns="0" tIns="0" rIns="0" bIns="0" anchor="ctr" anchorCtr="0"/>
          <a:lstStyle>
            <a:lvl1pPr marL="0" indent="0">
              <a:lnSpc>
                <a:spcPct val="100000"/>
              </a:lnSpc>
              <a:buNone/>
              <a:defRPr sz="1799" b="0" i="0">
                <a:solidFill>
                  <a:schemeClr val="bg1"/>
                </a:solidFill>
                <a:latin typeface="Segoe UI" panose="020B0502040204020203" pitchFamily="34" charset="0"/>
                <a:cs typeface="Segoe UI" panose="020B0502040204020203" pitchFamily="34" charset="0"/>
              </a:defRPr>
            </a:lvl1pPr>
          </a:lstStyle>
          <a:p>
            <a:pPr lvl="0"/>
            <a:r>
              <a:rPr lang="en-US" err="1"/>
              <a:t>kfhdkjghkd</a:t>
            </a:r>
            <a:endParaRPr lang="en-US"/>
          </a:p>
        </p:txBody>
      </p:sp>
      <p:sp>
        <p:nvSpPr>
          <p:cNvPr id="14" name="Text Placeholder 24">
            <a:extLst>
              <a:ext uri="{FF2B5EF4-FFF2-40B4-BE49-F238E27FC236}">
                <a16:creationId xmlns:a16="http://schemas.microsoft.com/office/drawing/2014/main" id="{D4816AA6-9321-41D5-AC4F-C3D1C7BADB0D}"/>
              </a:ext>
            </a:extLst>
          </p:cNvPr>
          <p:cNvSpPr>
            <a:spLocks noGrp="1"/>
          </p:cNvSpPr>
          <p:nvPr>
            <p:ph type="body" sz="quarter" idx="11" hasCustomPrompt="1"/>
          </p:nvPr>
        </p:nvSpPr>
        <p:spPr>
          <a:xfrm>
            <a:off x="3268760" y="4042203"/>
            <a:ext cx="8477410" cy="123235"/>
          </a:xfrm>
          <a:prstGeom prst="rect">
            <a:avLst/>
          </a:prstGeom>
        </p:spPr>
        <p:txBody>
          <a:bodyPr lIns="0" tIns="0" rIns="0" bIns="0"/>
          <a:lstStyle>
            <a:lvl1pPr marL="0" indent="0">
              <a:buNone/>
              <a:defRPr sz="1000" b="0" i="0">
                <a:solidFill>
                  <a:srgbClr val="50E6FF"/>
                </a:solidFill>
                <a:latin typeface="Segoe UI Semilight" panose="020B0402040204020203" pitchFamily="34" charset="0"/>
                <a:cs typeface="Segoe UI Semilight" panose="020B0402040204020203" pitchFamily="34" charset="0"/>
              </a:defRPr>
            </a:lvl1pPr>
          </a:lstStyle>
          <a:p>
            <a:pPr lvl="0"/>
            <a:r>
              <a:rPr lang="en-US" err="1"/>
              <a:t>ththt</a:t>
            </a:r>
            <a:endParaRPr lang="en-US"/>
          </a:p>
        </p:txBody>
      </p:sp>
      <p:sp>
        <p:nvSpPr>
          <p:cNvPr id="21" name="Text Placeholder 13">
            <a:extLst>
              <a:ext uri="{FF2B5EF4-FFF2-40B4-BE49-F238E27FC236}">
                <a16:creationId xmlns:a16="http://schemas.microsoft.com/office/drawing/2014/main" id="{00F6E751-803D-4C7A-BD17-78978E5619FD}"/>
              </a:ext>
            </a:extLst>
          </p:cNvPr>
          <p:cNvSpPr>
            <a:spLocks noGrp="1"/>
          </p:cNvSpPr>
          <p:nvPr>
            <p:ph type="body" sz="quarter" idx="25"/>
          </p:nvPr>
        </p:nvSpPr>
        <p:spPr>
          <a:xfrm>
            <a:off x="9024182" y="5177775"/>
            <a:ext cx="2537401" cy="1470009"/>
          </a:xfrm>
        </p:spPr>
        <p:txBody>
          <a:bodyPr>
            <a:noAutofit/>
          </a:bodyPr>
          <a:lstStyle>
            <a:lvl1pPr marL="0" indent="0">
              <a:buNone/>
              <a:defRPr/>
            </a:lvl1pPr>
          </a:lstStyle>
          <a:p>
            <a:endParaRPr lang="en-CA"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222744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745">
                <a:latin typeface="+mj-lt"/>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487721"/>
          </a:xfrm>
        </p:spPr>
        <p:txBody>
          <a:bodyPr/>
          <a:lstStyle>
            <a:lvl1pPr marL="0" indent="0">
              <a:buNone/>
              <a:defRPr sz="1765">
                <a:gradFill>
                  <a:gsLst>
                    <a:gs pos="1250">
                      <a:schemeClr val="tx2"/>
                    </a:gs>
                    <a:gs pos="99000">
                      <a:schemeClr val="tx2"/>
                    </a:gs>
                  </a:gsLst>
                  <a:lin ang="5400000" scaled="0"/>
                </a:gradFill>
                <a:latin typeface="+mn-lt"/>
              </a:defRPr>
            </a:lvl1pPr>
            <a:lvl2pPr marL="340627" indent="0">
              <a:buFontTx/>
              <a:buNone/>
              <a:defRPr sz="1568"/>
            </a:lvl2pPr>
            <a:lvl3pPr marL="564723" indent="0">
              <a:buNone/>
              <a:defRPr sz="1568"/>
            </a:lvl3pPr>
            <a:lvl4pPr marL="788820" indent="0">
              <a:buNone/>
              <a:defRPr sz="1568"/>
            </a:lvl4pPr>
            <a:lvl5pPr marL="1012917" indent="0">
              <a:buNone/>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p:cNvCxnSpPr/>
          <p:nvPr userDrawn="1"/>
        </p:nvCxnSpPr>
        <p:spPr>
          <a:xfrm>
            <a:off x="269239" y="963482"/>
            <a:ext cx="1165339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Footer Placeholder 2"/>
          <p:cNvSpPr>
            <a:spLocks noGrp="1"/>
          </p:cNvSpPr>
          <p:nvPr>
            <p:ph type="ftr" sz="quarter" idx="3"/>
          </p:nvPr>
        </p:nvSpPr>
        <p:spPr>
          <a:xfrm>
            <a:off x="4763876" y="6502706"/>
            <a:ext cx="1929804"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t>Microsoft Confidential   |</a:t>
            </a:r>
          </a:p>
        </p:txBody>
      </p:sp>
      <p:sp>
        <p:nvSpPr>
          <p:cNvPr id="11"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pPr/>
              <a:t>‹#›</a:t>
            </a:fld>
            <a:endParaRPr lang="en-US"/>
          </a:p>
        </p:txBody>
      </p:sp>
    </p:spTree>
    <p:extLst>
      <p:ext uri="{BB962C8B-B14F-4D97-AF65-F5344CB8AC3E}">
        <p14:creationId xmlns:p14="http://schemas.microsoft.com/office/powerpoint/2010/main" val="8317570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losing logo slide 2">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4019"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24799771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40E9860-1A1B-44AF-9847-157855D719FD}"/>
              </a:ext>
            </a:extLst>
          </p:cNvPr>
          <p:cNvSpPr>
            <a:spLocks noGrp="1"/>
          </p:cNvSpPr>
          <p:nvPr>
            <p:ph type="ftr" sz="quarter" idx="10"/>
          </p:nvPr>
        </p:nvSpPr>
        <p:spPr/>
        <p:txBody>
          <a:bodyPr/>
          <a:lstStyle/>
          <a:p>
            <a:endParaRPr lang="en-IN"/>
          </a:p>
        </p:txBody>
      </p:sp>
      <p:sp>
        <p:nvSpPr>
          <p:cNvPr id="3" name="Slide Number Placeholder 2">
            <a:extLst>
              <a:ext uri="{FF2B5EF4-FFF2-40B4-BE49-F238E27FC236}">
                <a16:creationId xmlns:a16="http://schemas.microsoft.com/office/drawing/2014/main" id="{39874F13-E2DD-428C-9BF1-68D09A9FDC9A}"/>
              </a:ext>
            </a:extLst>
          </p:cNvPr>
          <p:cNvSpPr>
            <a:spLocks noGrp="1"/>
          </p:cNvSpPr>
          <p:nvPr>
            <p:ph type="sldNum" sz="quarter" idx="11"/>
          </p:nvPr>
        </p:nvSpPr>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6439628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3C6A301-0538-44EC-B09D-202E1042A48B}" type="datetimeFigureOut">
              <a:rPr lang="en-US" dirty="0"/>
              <a:t>7/2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6514158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446947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527199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8">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35089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10231" t="24543" r="1338" b="659"/>
          <a:stretch/>
        </p:blipFill>
        <p:spPr>
          <a:xfrm flipH="1">
            <a:off x="0" y="-1"/>
            <a:ext cx="12191999" cy="6858002"/>
          </a:xfrm>
          <a:prstGeom prst="rect">
            <a:avLst/>
          </a:prstGeom>
        </p:spPr>
      </p:pic>
      <p:sp>
        <p:nvSpPr>
          <p:cNvPr id="10" name="Rectangle 9">
            <a:extLst>
              <a:ext uri="{FF2B5EF4-FFF2-40B4-BE49-F238E27FC236}">
                <a16:creationId xmlns:a16="http://schemas.microsoft.com/office/drawing/2014/main" id="{2360F1CA-EDE7-426A-BEBC-DA0C3B5DC971}"/>
              </a:ext>
            </a:extLst>
          </p:cNvPr>
          <p:cNvSpPr/>
          <p:nvPr userDrawn="1"/>
        </p:nvSpPr>
        <p:spPr bwMode="auto">
          <a:xfrm>
            <a:off x="0" y="-1"/>
            <a:ext cx="12192000" cy="6858002"/>
          </a:xfrm>
          <a:prstGeom prst="rect">
            <a:avLst/>
          </a:prstGeom>
          <a:gradFill flip="none" rotWithShape="1">
            <a:gsLst>
              <a:gs pos="0">
                <a:srgbClr val="000000">
                  <a:alpha val="50000"/>
                </a:srgbClr>
              </a:gs>
              <a:gs pos="100000">
                <a:srgbClr val="000000">
                  <a:alpha val="0"/>
                </a:srgb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6"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a:stretch>
            <a:fillRect/>
          </a:stretch>
        </p:blipFill>
        <p:spPr bwMode="black">
          <a:xfrm>
            <a:off x="264406" y="5933542"/>
            <a:ext cx="1797758" cy="661293"/>
          </a:xfrm>
          <a:prstGeom prst="rect">
            <a:avLst/>
          </a:prstGeom>
        </p:spPr>
      </p:pic>
    </p:spTree>
    <p:extLst>
      <p:ext uri="{BB962C8B-B14F-4D97-AF65-F5344CB8AC3E}">
        <p14:creationId xmlns:p14="http://schemas.microsoft.com/office/powerpoint/2010/main" val="261484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67794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8"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6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333419" y="-2839"/>
            <a:ext cx="6856853" cy="6858000"/>
          </a:xfrm>
          <a:prstGeom prst="rect">
            <a:avLst/>
          </a:prstGeom>
        </p:spPr>
      </p:pic>
    </p:spTree>
    <p:extLst>
      <p:ext uri="{BB962C8B-B14F-4D97-AF65-F5344CB8AC3E}">
        <p14:creationId xmlns:p14="http://schemas.microsoft.com/office/powerpoint/2010/main" val="205485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2" y="1187645"/>
            <a:ext cx="11655079"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087145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540799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64596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11505" r="8764" b="11505"/>
          <a:stretch/>
        </p:blipFill>
        <p:spPr>
          <a:xfrm>
            <a:off x="0" y="0"/>
            <a:ext cx="12192001" cy="6858000"/>
          </a:xfrm>
          <a:prstGeom prst="rect">
            <a:avLst/>
          </a:prstGeom>
        </p:spPr>
      </p:pic>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887846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789574A-8875-45EF-8EA2-3CAA0F7ABC4C}" type="datetimeFigureOut">
              <a:rPr lang="en-US" dirty="0"/>
              <a:t>7/25/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5823400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E9F41-A39A-463B-86DC-24DEA46BC137}"/>
              </a:ext>
            </a:extLst>
          </p:cNvPr>
          <p:cNvPicPr>
            <a:picLocks noChangeAspect="1"/>
          </p:cNvPicPr>
          <p:nvPr userDrawn="1"/>
        </p:nvPicPr>
        <p:blipFill>
          <a:blip r:embed="rId2"/>
          <a:stretch>
            <a:fillRect/>
          </a:stretch>
        </p:blipFill>
        <p:spPr>
          <a:xfrm>
            <a:off x="864" y="0"/>
            <a:ext cx="12190271" cy="6858000"/>
          </a:xfrm>
          <a:prstGeom prst="rect">
            <a:avLst/>
          </a:prstGeom>
        </p:spPr>
      </p:pic>
      <p:sp>
        <p:nvSpPr>
          <p:cNvPr id="10" name="Rectangle 9"/>
          <p:cNvSpPr/>
          <p:nvPr userDrawn="1"/>
        </p:nvSpPr>
        <p:spPr bwMode="auto">
          <a:xfrm>
            <a:off x="1" y="0"/>
            <a:ext cx="8205112" cy="6858000"/>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105571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73E2C8-2E29-4072-B66C-45FEF7A95FBE}"/>
              </a:ext>
            </a:extLst>
          </p:cNvPr>
          <p:cNvPicPr>
            <a:picLocks noChangeAspect="1"/>
          </p:cNvPicPr>
          <p:nvPr userDrawn="1"/>
        </p:nvPicPr>
        <p:blipFill>
          <a:blip r:embed="rId2"/>
          <a:stretch>
            <a:fillRect/>
          </a:stretch>
        </p:blipFill>
        <p:spPr>
          <a:xfrm>
            <a:off x="864" y="0"/>
            <a:ext cx="12190271" cy="6858000"/>
          </a:xfrm>
          <a:prstGeom prst="rect">
            <a:avLst/>
          </a:prstGeom>
        </p:spPr>
      </p:pic>
      <p:sp>
        <p:nvSpPr>
          <p:cNvPr id="10" name="Rectangle 9"/>
          <p:cNvSpPr/>
          <p:nvPr userDrawn="1"/>
        </p:nvSpPr>
        <p:spPr bwMode="auto">
          <a:xfrm>
            <a:off x="2" y="0"/>
            <a:ext cx="6912430" cy="6858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69597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Title with photo and ti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76FE84F-F9C0-4A5C-87B9-886F42F5EB9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 y="-1"/>
            <a:ext cx="12192000" cy="6858001"/>
          </a:xfrm>
          <a:prstGeom prst="rect">
            <a:avLst/>
          </a:prstGeom>
        </p:spPr>
      </p:pic>
      <p:sp>
        <p:nvSpPr>
          <p:cNvPr id="6" name="Rectangle 5">
            <a:extLst>
              <a:ext uri="{FF2B5EF4-FFF2-40B4-BE49-F238E27FC236}">
                <a16:creationId xmlns:a16="http://schemas.microsoft.com/office/drawing/2014/main" id="{8628F4D0-D08E-493B-9C54-C42ECB8CFC63}"/>
              </a:ext>
            </a:extLst>
          </p:cNvPr>
          <p:cNvSpPr/>
          <p:nvPr userDrawn="1"/>
        </p:nvSpPr>
        <p:spPr bwMode="auto">
          <a:xfrm>
            <a:off x="0" y="0"/>
            <a:ext cx="12192000" cy="6858000"/>
          </a:xfrm>
          <a:prstGeom prst="rect">
            <a:avLst/>
          </a:prstGeom>
          <a:gradFill>
            <a:gsLst>
              <a:gs pos="32000">
                <a:schemeClr val="bg1">
                  <a:lumMod val="50000"/>
                  <a:alpha val="63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err="1">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1795495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12192000" cy="6858000"/>
          </a:xfrm>
          <a:prstGeom prst="rect">
            <a:avLst/>
          </a:prstGeom>
          <a:gradFill>
            <a:gsLst>
              <a:gs pos="32000">
                <a:schemeClr val="tx1">
                  <a:lumMod val="50000"/>
                  <a:alpha val="63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err="1">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131220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9403301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333418" y="-2839"/>
            <a:ext cx="6856854" cy="6858000"/>
          </a:xfrm>
          <a:prstGeom prst="rect">
            <a:avLst/>
          </a:prstGeom>
        </p:spPr>
      </p:pic>
    </p:spTree>
    <p:extLst>
      <p:ext uri="{BB962C8B-B14F-4D97-AF65-F5344CB8AC3E}">
        <p14:creationId xmlns:p14="http://schemas.microsoft.com/office/powerpoint/2010/main" val="882159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pic>
        <p:nvPicPr>
          <p:cNvPr id="2" name="Picture 1">
            <a:extLst>
              <a:ext uri="{FF2B5EF4-FFF2-40B4-BE49-F238E27FC236}">
                <a16:creationId xmlns:a16="http://schemas.microsoft.com/office/drawing/2014/main" id="{05C1E944-ED65-45EE-9E5F-898CC5FE95D9}"/>
              </a:ext>
            </a:extLst>
          </p:cNvPr>
          <p:cNvPicPr>
            <a:picLocks noChangeAspect="1"/>
          </p:cNvPicPr>
          <p:nvPr userDrawn="1"/>
        </p:nvPicPr>
        <p:blipFill>
          <a:blip r:embed="rId3"/>
          <a:stretch>
            <a:fillRect/>
          </a:stretch>
        </p:blipFill>
        <p:spPr>
          <a:xfrm>
            <a:off x="5334973" y="0"/>
            <a:ext cx="6857027" cy="6858000"/>
          </a:xfrm>
          <a:prstGeom prst="rect">
            <a:avLst/>
          </a:prstGeom>
        </p:spPr>
      </p:pic>
    </p:spTree>
    <p:extLst>
      <p:ext uri="{BB962C8B-B14F-4D97-AF65-F5344CB8AC3E}">
        <p14:creationId xmlns:p14="http://schemas.microsoft.com/office/powerpoint/2010/main" val="38880319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29762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63916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92660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7343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7EF4D4C-5367-4C26-9E2B-D8088D7FCA81}" type="datetimeFigureOut">
              <a:rPr lang="en-US" dirty="0"/>
              <a:t>7/2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5898799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2408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4610"/>
          </a:xfrm>
        </p:spPr>
        <p:txBody>
          <a:bodyPr/>
          <a:lstStyle>
            <a:lvl1pPr marL="0" indent="0">
              <a:buNone/>
              <a:defRPr sz="323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5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6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4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650671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4019"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6045279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4019"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2452672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81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300"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119"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239" indent="0">
              <a:buClr>
                <a:schemeClr val="tx1"/>
              </a:buClr>
              <a:buSzPct val="90000"/>
              <a:buFont typeface="Arial" pitchFamily="34" charset="0"/>
              <a:buNone/>
              <a:defRPr sz="1569"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3689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WO 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411760"/>
            <a:ext cx="11653523" cy="1856214"/>
          </a:xfrm>
        </p:spPr>
        <p:txBody>
          <a:bodyPr/>
          <a:lstStyle>
            <a:lvl1pPr marL="0" indent="0">
              <a:buNone/>
              <a:defRPr lang="en-US" sz="3920" b="1" kern="1200" spc="0" baseline="0" dirty="0" smtClean="0">
                <a:gradFill>
                  <a:gsLst>
                    <a:gs pos="1250">
                      <a:schemeClr val="accent2"/>
                    </a:gs>
                    <a:gs pos="100000">
                      <a:schemeClr val="accent2"/>
                    </a:gs>
                  </a:gsLst>
                  <a:lin ang="5400000" scaled="0"/>
                </a:gradFill>
                <a:latin typeface="+mj-lt"/>
                <a:ea typeface="+mn-ea"/>
                <a:cs typeface="+mn-cs"/>
              </a:defRPr>
            </a:lvl1pPr>
            <a:lvl2pPr marL="0" indent="0">
              <a:buFontTx/>
              <a:buNone/>
              <a:defRPr sz="1961"/>
            </a:lvl2pPr>
            <a:lvl3pPr marL="331381" indent="-164911">
              <a:buFont typeface="Arial" pitchFamily="34" charset="0"/>
              <a:buChar char="•"/>
              <a:tabLst>
                <a:tab pos="331381" algn="l"/>
              </a:tabLst>
              <a:defRPr/>
            </a:lvl3pPr>
            <a:lvl4pPr marL="508739" indent="-177359">
              <a:buFont typeface="Arial" pitchFamily="34" charset="0"/>
              <a:buChar char="•"/>
              <a:defRPr/>
            </a:lvl4pPr>
            <a:lvl5pPr marL="619198" indent="-110461">
              <a:buFont typeface="Arial"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gradFill>
                  <a:gsLst>
                    <a:gs pos="0">
                      <a:srgbClr val="DDDDDD">
                        <a:lumMod val="75000"/>
                      </a:srgbClr>
                    </a:gs>
                    <a:gs pos="100000">
                      <a:srgbClr val="DDDDDD">
                        <a:lumMod val="75000"/>
                      </a:srgbClr>
                    </a:gs>
                  </a:gsLst>
                  <a:lin ang="5400000" scaled="0"/>
                </a:gradFill>
                <a:effectLst/>
                <a:uLnTx/>
                <a:uFillTx/>
                <a:latin typeface="Segoe UI Semilight"/>
                <a:ea typeface="+mn-ea"/>
                <a:cs typeface="+mn-cs"/>
              </a:rPr>
              <a:t>Microsoft Confidential</a:t>
            </a:r>
          </a:p>
        </p:txBody>
      </p:sp>
      <p:sp>
        <p:nvSpPr>
          <p:cNvPr id="4" name="Slide Number Placeholder 3"/>
          <p:cNvSpPr>
            <a:spLocks noGrp="1"/>
          </p:cNvSpPr>
          <p:nvPr>
            <p:ph type="sldNum" sz="quarter" idx="12"/>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fld id="{25B1B22E-D3C8-4129-8E85-2E5037E3E69B}" type="slidenum">
              <a:rPr kumimoji="0" lang="en-US" sz="1765" b="0" i="0" u="none" strike="noStrike" kern="1200" cap="none" spc="0" normalizeH="0" baseline="0" noProof="0" smtClean="0">
                <a:ln>
                  <a:noFill/>
                </a:ln>
                <a:gradFill>
                  <a:gsLst>
                    <a:gs pos="0">
                      <a:srgbClr val="DDDDDD">
                        <a:lumMod val="75000"/>
                      </a:srgbClr>
                    </a:gs>
                    <a:gs pos="100000">
                      <a:srgbClr val="DDDDDD">
                        <a:lumMod val="75000"/>
                      </a:srgbClr>
                    </a:gs>
                  </a:gsLst>
                  <a:lin ang="5400000" scaled="0"/>
                </a:gradFill>
                <a:effectLst/>
                <a:uLnTx/>
                <a:uFillTx/>
                <a:latin typeface="Segoe UI Semilight"/>
                <a:ea typeface="+mn-ea"/>
                <a:cs typeface="+mn-cs"/>
              </a:rPr>
              <a:pPr marL="0" marR="0" lvl="0" indent="0" algn="l" defTabSz="914460"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a:ln>
                <a:noFill/>
              </a:ln>
              <a:gradFill>
                <a:gsLst>
                  <a:gs pos="0">
                    <a:srgbClr val="DDDDDD">
                      <a:lumMod val="75000"/>
                    </a:srgbClr>
                  </a:gs>
                  <a:gs pos="100000">
                    <a:srgbClr val="DDDDDD">
                      <a:lumMod val="75000"/>
                    </a:srgbClr>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34713902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3063"/>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8744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79022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ntent9">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7059" tIns="28529" rIns="57059" bIns="28529" rtlCol="0" anchor="ctr"/>
          <a:lstStyle/>
          <a:p>
            <a:pPr marL="0" marR="0" lvl="0" indent="0" algn="ctr" defTabSz="91420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Picture Placeholder 6"/>
          <p:cNvSpPr>
            <a:spLocks noGrp="1"/>
          </p:cNvSpPr>
          <p:nvPr>
            <p:ph type="pic" sz="quarter" idx="11"/>
          </p:nvPr>
        </p:nvSpPr>
        <p:spPr>
          <a:xfrm>
            <a:off x="0" y="0"/>
            <a:ext cx="12192000" cy="510524"/>
          </a:xfrm>
        </p:spPr>
        <p:txBody>
          <a:bodyPr/>
          <a:lstStyle/>
          <a:p>
            <a:r>
              <a:rPr lang="en-US"/>
              <a:t>Click icon to add picture</a:t>
            </a:r>
          </a:p>
        </p:txBody>
      </p:sp>
    </p:spTree>
    <p:extLst>
      <p:ext uri="{BB962C8B-B14F-4D97-AF65-F5344CB8AC3E}">
        <p14:creationId xmlns:p14="http://schemas.microsoft.com/office/powerpoint/2010/main" val="23321398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69241" y="1189179"/>
            <a:ext cx="11653521" cy="1741952"/>
          </a:xfrm>
        </p:spPr>
        <p:txBody>
          <a:bodyPr spcCol="360000"/>
          <a:lstStyle>
            <a:lvl1pPr>
              <a:lnSpc>
                <a:spcPct val="100000"/>
              </a:lnSpc>
              <a:spcBef>
                <a:spcPts val="1000"/>
              </a:spcBef>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975467" y="6276623"/>
            <a:ext cx="2166027" cy="305368"/>
          </a:xfrm>
        </p:spPr>
        <p:txBody>
          <a:bodyPr lIns="0" tIns="0" rIns="0" bIns="0" anchor="t" anchorCtr="0"/>
          <a:lstStyle/>
          <a:p>
            <a:r>
              <a:rPr lang="en-US"/>
              <a:t>Genesys confidential and proprietary information. Unauthorized disclosure is prohibited.</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307" y="5980843"/>
            <a:ext cx="1748435" cy="761152"/>
          </a:xfrm>
          <a:prstGeom prst="rect">
            <a:avLst/>
          </a:prstGeom>
        </p:spPr>
      </p:pic>
      <p:sp>
        <p:nvSpPr>
          <p:cNvPr id="8" name="Slide Number Placeholder 5"/>
          <p:cNvSpPr>
            <a:spLocks noGrp="1"/>
          </p:cNvSpPr>
          <p:nvPr>
            <p:ph type="sldNum" sz="quarter" idx="4"/>
          </p:nvPr>
        </p:nvSpPr>
        <p:spPr>
          <a:xfrm>
            <a:off x="9186863" y="6216866"/>
            <a:ext cx="2547939" cy="365125"/>
          </a:xfrm>
          <a:prstGeom prst="rect">
            <a:avLst/>
          </a:prstGeom>
        </p:spPr>
        <p:txBody>
          <a:bodyPr vert="horz" lIns="90000" tIns="45720" rIns="0" bIns="45720" rtlCol="0" anchor="ctr"/>
          <a:lstStyle>
            <a:lvl1pPr algn="r">
              <a:defRPr sz="1000">
                <a:solidFill>
                  <a:schemeClr val="tx1">
                    <a:tint val="75000"/>
                  </a:schemeClr>
                </a:solidFill>
              </a:defRPr>
            </a:lvl1pPr>
          </a:lstStyle>
          <a:p>
            <a:fld id="{20CFEDCE-3BD6-9940-A642-E28DD407BF5F}" type="slidenum">
              <a:rPr lang="en-US" smtClean="0"/>
              <a:pPr/>
              <a:t>‹#›</a:t>
            </a:fld>
            <a:endParaRPr lang="en-US"/>
          </a:p>
        </p:txBody>
      </p:sp>
    </p:spTree>
    <p:extLst>
      <p:ext uri="{BB962C8B-B14F-4D97-AF65-F5344CB8AC3E}">
        <p14:creationId xmlns:p14="http://schemas.microsoft.com/office/powerpoint/2010/main" val="491899861"/>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E91E96-98B0-4413-9547-46F3504108EF}" type="datetimeFigureOut">
              <a:rPr lang="en-US" dirty="0"/>
              <a:t>7/25/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700543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82347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268312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65344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40063755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8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41"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031"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128"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19171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087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 Tan Background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055562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82880" tIns="45720" rIns="182880" bIns="45720">
            <a:noAutofit/>
          </a:bodyPr>
          <a:lstStyle>
            <a:lvl1pPr>
              <a:defRPr sz="4313">
                <a:solidFill>
                  <a:schemeClr val="tx1"/>
                </a:solidFill>
              </a:defRPr>
            </a:lvl1pPr>
          </a:lstStyle>
          <a:p>
            <a:r>
              <a:rPr lang="en-US"/>
              <a:t>Click to edit Master title style</a:t>
            </a:r>
          </a:p>
        </p:txBody>
      </p:sp>
      <p:sp>
        <p:nvSpPr>
          <p:cNvPr id="6" name="Text Placeholder 5"/>
          <p:cNvSpPr>
            <a:spLocks noGrp="1"/>
          </p:cNvSpPr>
          <p:nvPr>
            <p:ph type="body" sz="quarter" idx="13" hasCustomPrompt="1"/>
          </p:nvPr>
        </p:nvSpPr>
        <p:spPr>
          <a:xfrm>
            <a:off x="269239" y="1038694"/>
            <a:ext cx="11922763" cy="373063"/>
          </a:xfrm>
          <a:prstGeom prst="rect">
            <a:avLst/>
          </a:prstGeom>
        </p:spPr>
        <p:txBody>
          <a:bodyPr lIns="182880" tIns="45720" rIns="182880" bIns="45720">
            <a:noAutofit/>
          </a:bodyPr>
          <a:lstStyle>
            <a:lvl1pPr marL="0" indent="0">
              <a:buNone/>
              <a:defRPr sz="2800">
                <a:solidFill>
                  <a:schemeClr val="tx2">
                    <a:lumMod val="75000"/>
                  </a:schemeClr>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69239" y="1600200"/>
            <a:ext cx="11314590" cy="1605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914367">
              <a:defRPr/>
            </a:pPr>
            <a:fld id="{FAADACFB-7C71-4E89-89D2-7BBA40B7BFA9}" type="slidenum">
              <a:rPr lang="en-US" sz="1765" smtClean="0">
                <a:solidFill>
                  <a:srgbClr val="002050"/>
                </a:solidFill>
              </a:rPr>
              <a:pPr defTabSz="914367">
                <a:defRPr/>
              </a:pPr>
              <a:t>‹#›</a:t>
            </a:fld>
            <a:endParaRPr lang="en-US" sz="1765">
              <a:solidFill>
                <a:srgbClr val="002050"/>
              </a:solidFill>
            </a:endParaRPr>
          </a:p>
        </p:txBody>
      </p:sp>
      <p:sp>
        <p:nvSpPr>
          <p:cNvPr id="20" name="Footer Placeholder 19"/>
          <p:cNvSpPr>
            <a:spLocks noGrp="1"/>
          </p:cNvSpPr>
          <p:nvPr>
            <p:ph type="ftr" sz="quarter" idx="16"/>
          </p:nvPr>
        </p:nvSpPr>
        <p:spPr/>
        <p:txBody>
          <a:bodyPr/>
          <a:lstStyle/>
          <a:p>
            <a:pPr defTabSz="914367">
              <a:defRPr/>
            </a:pPr>
            <a:endParaRPr lang="en-US" sz="1765">
              <a:solidFill>
                <a:srgbClr val="002050"/>
              </a:solidFill>
            </a:endParaRPr>
          </a:p>
        </p:txBody>
      </p:sp>
    </p:spTree>
    <p:extLst>
      <p:ext uri="{BB962C8B-B14F-4D97-AF65-F5344CB8AC3E}">
        <p14:creationId xmlns:p14="http://schemas.microsoft.com/office/powerpoint/2010/main" val="2683519324"/>
      </p:ext>
    </p:extLst>
  </p:cSld>
  <p:clrMapOvr>
    <a:masterClrMapping/>
  </p:clrMapOvr>
  <p:transition>
    <p:fade/>
  </p:transition>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2084174"/>
            <a:ext cx="11653523" cy="1490739"/>
          </a:xfrm>
        </p:spPr>
        <p:txBody>
          <a:bodyPr/>
          <a:lstStyle>
            <a:lvl1pPr marL="0" indent="0">
              <a:buNone/>
              <a:defRPr sz="2745">
                <a:gradFill>
                  <a:gsLst>
                    <a:gs pos="1250">
                      <a:schemeClr val="tx1"/>
                    </a:gs>
                    <a:gs pos="99000">
                      <a:schemeClr val="tx1"/>
                    </a:gs>
                  </a:gsLst>
                  <a:lin ang="5400000" scaled="0"/>
                </a:gradFill>
              </a:defRPr>
            </a:lvl1pPr>
            <a:lvl2pPr marL="0" indent="0">
              <a:buFontTx/>
              <a:buNone/>
              <a:defRPr sz="1765"/>
            </a:lvl2pPr>
            <a:lvl3pPr marL="224054" indent="0">
              <a:buNone/>
              <a:defRPr sz="1371"/>
            </a:lvl3pPr>
            <a:lvl4pPr marL="448107" indent="0">
              <a:buNone/>
              <a:defRPr sz="1175"/>
            </a:lvl4pPr>
            <a:lvl5pPr marL="672161" indent="0">
              <a:buNone/>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90369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1217701">
              <a:defRPr/>
            </a:pPr>
            <a:fld id="{71F47D9D-8D60-4698-A495-89D102E182A2}" type="slidenum">
              <a:rPr lang="en-US" sz="1000" smtClean="0">
                <a:gradFill>
                  <a:gsLst>
                    <a:gs pos="73333">
                      <a:srgbClr val="808080"/>
                    </a:gs>
                    <a:gs pos="38000">
                      <a:srgbClr val="808080"/>
                    </a:gs>
                  </a:gsLst>
                  <a:lin ang="5400000" scaled="0"/>
                </a:gradFill>
                <a:latin typeface="Segoe UI Light"/>
              </a:rPr>
              <a:pPr defTabSz="1217701">
                <a:defRPr/>
              </a:pPr>
              <a:t>‹#›</a:t>
            </a:fld>
            <a:endParaRPr lang="en-US" sz="1000">
              <a:gradFill>
                <a:gsLst>
                  <a:gs pos="73333">
                    <a:srgbClr val="808080"/>
                  </a:gs>
                  <a:gs pos="38000">
                    <a:srgbClr val="808080"/>
                  </a:gs>
                </a:gsLst>
                <a:lin ang="5400000" scaled="0"/>
              </a:gradFill>
              <a:latin typeface="Segoe UI Light"/>
            </a:endParaRPr>
          </a:p>
        </p:txBody>
      </p:sp>
    </p:spTree>
    <p:extLst>
      <p:ext uri="{BB962C8B-B14F-4D97-AF65-F5344CB8AC3E}">
        <p14:creationId xmlns:p14="http://schemas.microsoft.com/office/powerpoint/2010/main" val="1143728200"/>
      </p:ext>
    </p:extLst>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5C68B11-C5A8-448C-8CE9-B1A273C79CFC}" type="datetimeFigureOut">
              <a:rPr lang="en-US" dirty="0"/>
              <a:t>7/2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5150151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p:cNvPicPr/>
                      <p:nvPr/>
                    </p:nvPicPr>
                    <p:blipFill>
                      <a:blip r:embed="rId4"/>
                      <a:stretch>
                        <a:fillRect/>
                      </a:stretch>
                    </p:blipFill>
                    <p:spPr>
                      <a:xfrm>
                        <a:off x="1592" y="1592"/>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0"/>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767627369"/>
      </p:ext>
    </p:extLst>
  </p:cSld>
  <p:clrMapOvr>
    <a:masterClrMapping/>
  </p:clrMapOvr>
  <p:transition>
    <p:fade/>
  </p:transition>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1" y="228602"/>
            <a:ext cx="11151917" cy="543034"/>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0" y="6185678"/>
            <a:ext cx="1920568" cy="706469"/>
          </a:xfrm>
          <a:prstGeom prst="rect">
            <a:avLst/>
          </a:prstGeom>
        </p:spPr>
      </p:pic>
    </p:spTree>
    <p:extLst>
      <p:ext uri="{BB962C8B-B14F-4D97-AF65-F5344CB8AC3E}">
        <p14:creationId xmlns:p14="http://schemas.microsoft.com/office/powerpoint/2010/main" val="1509315932"/>
      </p:ext>
    </p:extLst>
  </p:cSld>
  <p:clrMapOvr>
    <a:masterClrMapping/>
  </p:clrMapOvr>
  <p:transition spd="med">
    <p:push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2084175"/>
            <a:ext cx="11653523" cy="1490739"/>
          </a:xfrm>
        </p:spPr>
        <p:txBody>
          <a:bodyPr/>
          <a:lstStyle>
            <a:lvl1pPr marL="0" indent="0">
              <a:buNone/>
              <a:defRPr sz="2745">
                <a:gradFill>
                  <a:gsLst>
                    <a:gs pos="1250">
                      <a:schemeClr val="tx1"/>
                    </a:gs>
                    <a:gs pos="99000">
                      <a:schemeClr val="tx1"/>
                    </a:gs>
                  </a:gsLst>
                  <a:lin ang="5400000" scaled="0"/>
                </a:gradFill>
              </a:defRPr>
            </a:lvl1pPr>
            <a:lvl2pPr marL="0" indent="0">
              <a:buFontTx/>
              <a:buNone/>
              <a:defRPr sz="1765"/>
            </a:lvl2pPr>
            <a:lvl3pPr marL="224011" indent="0">
              <a:buNone/>
              <a:defRPr sz="1370"/>
            </a:lvl3pPr>
            <a:lvl4pPr marL="448021" indent="0">
              <a:buNone/>
              <a:defRPr sz="1174"/>
            </a:lvl4pPr>
            <a:lvl5pPr marL="672032" indent="0">
              <a:buNone/>
              <a:defRPr sz="117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602623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1457327" y="365124"/>
            <a:ext cx="8524873" cy="990709"/>
          </a:xfrm>
        </p:spPr>
        <p:txBody>
          <a:bodyPr>
            <a:normAutofit/>
          </a:bodyPr>
          <a:lstStyle>
            <a:lvl1pPr>
              <a:defRPr sz="2700" b="1" i="0" baseline="0">
                <a:latin typeface="flexo" charset="0"/>
              </a:defRPr>
            </a:lvl1pPr>
          </a:lstStyle>
          <a:p>
            <a:r>
              <a:rPr lang="nl-NL"/>
              <a:t>Titelstijl van model bewerken</a:t>
            </a:r>
          </a:p>
        </p:txBody>
      </p:sp>
      <p:sp>
        <p:nvSpPr>
          <p:cNvPr id="3" name="Tijdelijke aanduiding voor inhoud 2"/>
          <p:cNvSpPr>
            <a:spLocks noGrp="1"/>
          </p:cNvSpPr>
          <p:nvPr>
            <p:ph idx="1"/>
          </p:nvPr>
        </p:nvSpPr>
        <p:spPr/>
        <p:txBody>
          <a:bodyPr/>
          <a:lstStyle>
            <a:lvl1pPr>
              <a:defRPr baseline="0">
                <a:latin typeface="flexo" charset="0"/>
              </a:defRPr>
            </a:lvl1pPr>
            <a:lvl2pPr>
              <a:defRPr baseline="0">
                <a:latin typeface="flexo" charset="0"/>
              </a:defRPr>
            </a:lvl2pPr>
            <a:lvl3pPr>
              <a:defRPr baseline="0">
                <a:latin typeface="flexo" charset="0"/>
              </a:defRPr>
            </a:lvl3pPr>
            <a:lvl4pPr>
              <a:defRPr baseline="0">
                <a:latin typeface="flexo" charset="0"/>
              </a:defRPr>
            </a:lvl4pPr>
            <a:lvl5pPr>
              <a:defRPr baseline="0">
                <a:latin typeface="flexo" charset="0"/>
              </a:defRPr>
            </a:lvl5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8200" y="541325"/>
            <a:ext cx="581025" cy="638309"/>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202057" y="6338846"/>
            <a:ext cx="771525" cy="400132"/>
          </a:xfrm>
          <a:prstGeom prst="rect">
            <a:avLst/>
          </a:prstGeom>
        </p:spPr>
      </p:pic>
      <p:sp>
        <p:nvSpPr>
          <p:cNvPr id="10" name="Date Placeholder 9"/>
          <p:cNvSpPr>
            <a:spLocks noGrp="1"/>
          </p:cNvSpPr>
          <p:nvPr>
            <p:ph type="dt" sz="half" idx="10"/>
          </p:nvPr>
        </p:nvSpPr>
        <p:spPr/>
        <p:txBody>
          <a:bodyPr/>
          <a:lstStyle>
            <a:lvl1pPr>
              <a:defRPr baseline="0">
                <a:latin typeface="flexo" charset="0"/>
              </a:defRPr>
            </a:lvl1pPr>
          </a:lstStyle>
          <a:p>
            <a:fld id="{54C99AD2-336C-0148-AD08-BEFAB84EF859}" type="datetime1">
              <a:rPr lang="en-US" smtClean="0"/>
              <a:t>7/25/2022</a:t>
            </a:fld>
            <a:endParaRPr lang="nl-NL"/>
          </a:p>
        </p:txBody>
      </p:sp>
      <p:sp>
        <p:nvSpPr>
          <p:cNvPr id="11" name="Footer Placeholder 10"/>
          <p:cNvSpPr>
            <a:spLocks noGrp="1"/>
          </p:cNvSpPr>
          <p:nvPr>
            <p:ph type="ftr" sz="quarter" idx="11"/>
          </p:nvPr>
        </p:nvSpPr>
        <p:spPr/>
        <p:txBody>
          <a:bodyPr/>
          <a:lstStyle>
            <a:lvl1pPr>
              <a:defRPr baseline="0">
                <a:latin typeface="flexo" charset="0"/>
              </a:defRPr>
            </a:lvl1pPr>
          </a:lstStyle>
          <a:p>
            <a:endParaRPr lang="nl-NL"/>
          </a:p>
        </p:txBody>
      </p:sp>
      <p:sp>
        <p:nvSpPr>
          <p:cNvPr id="12" name="Slide Number Placeholder 11"/>
          <p:cNvSpPr>
            <a:spLocks noGrp="1"/>
          </p:cNvSpPr>
          <p:nvPr>
            <p:ph type="sldNum" sz="quarter" idx="12"/>
          </p:nvPr>
        </p:nvSpPr>
        <p:spPr>
          <a:xfrm>
            <a:off x="8610600" y="6356351"/>
            <a:ext cx="2591456" cy="365125"/>
          </a:xfrm>
        </p:spPr>
        <p:txBody>
          <a:bodyPr/>
          <a:lstStyle>
            <a:lvl1pPr>
              <a:defRPr baseline="0">
                <a:latin typeface="flexo" charset="0"/>
              </a:defRPr>
            </a:lvl1pPr>
          </a:lstStyle>
          <a:p>
            <a:fld id="{1981FB4C-7D79-7744-9D8D-FB8B11670023}" type="slidenum">
              <a:rPr lang="en-US" smtClean="0"/>
              <a:pPr/>
              <a:t>‹#›</a:t>
            </a:fld>
            <a:endParaRPr lang="nl-NL"/>
          </a:p>
        </p:txBody>
      </p:sp>
    </p:spTree>
    <p:extLst>
      <p:ext uri="{BB962C8B-B14F-4D97-AF65-F5344CB8AC3E}">
        <p14:creationId xmlns:p14="http://schemas.microsoft.com/office/powerpoint/2010/main" val="33786021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Diagram Slide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34513"/>
            <a:ext cx="12192000" cy="3409949"/>
          </a:xfrm>
          <a:prstGeom prst="rect">
            <a:avLst/>
          </a:prstGeom>
        </p:spPr>
      </p:pic>
      <p:sp>
        <p:nvSpPr>
          <p:cNvPr id="13" name="Text Placeholder 12"/>
          <p:cNvSpPr>
            <a:spLocks noGrp="1"/>
          </p:cNvSpPr>
          <p:nvPr>
            <p:ph type="body" sz="quarter" idx="10" hasCustomPrompt="1"/>
          </p:nvPr>
        </p:nvSpPr>
        <p:spPr>
          <a:xfrm>
            <a:off x="272684" y="4818998"/>
            <a:ext cx="4551289" cy="522820"/>
          </a:xfrm>
        </p:spPr>
        <p:txBody>
          <a:bodyPr>
            <a:normAutofit/>
          </a:bodyPr>
          <a:lstStyle>
            <a:lvl1pPr marL="0" indent="0" algn="ctr">
              <a:spcBef>
                <a:spcPts val="0"/>
              </a:spcBef>
              <a:buNone/>
              <a:defRPr sz="3000">
                <a:solidFill>
                  <a:schemeClr val="tx1"/>
                </a:solidFill>
              </a:defRPr>
            </a:lvl1pPr>
          </a:lstStyle>
          <a:p>
            <a:pPr lvl="0"/>
            <a:r>
              <a:rPr lang="en-US"/>
              <a:t>Sub header</a:t>
            </a:r>
            <a:endParaRPr lang="en-GB"/>
          </a:p>
        </p:txBody>
      </p:sp>
      <p:sp>
        <p:nvSpPr>
          <p:cNvPr id="3" name="Oval 2"/>
          <p:cNvSpPr/>
          <p:nvPr userDrawn="1"/>
        </p:nvSpPr>
        <p:spPr>
          <a:xfrm>
            <a:off x="1259177" y="2098626"/>
            <a:ext cx="2578309" cy="25783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7"/>
          </a:p>
        </p:txBody>
      </p:sp>
      <p:sp>
        <p:nvSpPr>
          <p:cNvPr id="6" name="Oval 5"/>
          <p:cNvSpPr/>
          <p:nvPr userDrawn="1"/>
        </p:nvSpPr>
        <p:spPr>
          <a:xfrm>
            <a:off x="4743202" y="2139086"/>
            <a:ext cx="2578309" cy="25783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7"/>
          </a:p>
        </p:txBody>
      </p:sp>
      <p:sp>
        <p:nvSpPr>
          <p:cNvPr id="7" name="Oval 6"/>
          <p:cNvSpPr/>
          <p:nvPr userDrawn="1"/>
        </p:nvSpPr>
        <p:spPr>
          <a:xfrm>
            <a:off x="8272197" y="2139086"/>
            <a:ext cx="2578309" cy="25783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7"/>
          </a:p>
        </p:txBody>
      </p:sp>
      <p:sp>
        <p:nvSpPr>
          <p:cNvPr id="14" name="Content Placeholder 2"/>
          <p:cNvSpPr>
            <a:spLocks noGrp="1"/>
          </p:cNvSpPr>
          <p:nvPr>
            <p:ph idx="14" hasCustomPrompt="1"/>
          </p:nvPr>
        </p:nvSpPr>
        <p:spPr>
          <a:xfrm>
            <a:off x="1431675" y="5341820"/>
            <a:ext cx="2233309" cy="941751"/>
          </a:xfrm>
        </p:spPr>
        <p:txBody>
          <a:bodyPr>
            <a:normAutofit/>
          </a:bodyPr>
          <a:lstStyle>
            <a:lvl1pPr marL="0" indent="0">
              <a:spcBef>
                <a:spcPts val="0"/>
              </a:spcBef>
              <a:buNone/>
              <a:defRPr sz="2000">
                <a:solidFill>
                  <a:schemeClr val="tx2"/>
                </a:solidFill>
              </a:defRPr>
            </a:lvl1pPr>
            <a:lvl2pPr marL="177732" indent="0">
              <a:buFont typeface="Arial" panose="020B0604020202020204" pitchFamily="34" charset="0"/>
              <a:buNone/>
              <a:defRPr sz="2200">
                <a:solidFill>
                  <a:srgbClr val="FF0000"/>
                </a:solidFill>
              </a:defRPr>
            </a:lvl2pPr>
            <a:lvl3pPr marL="185666" indent="0">
              <a:buNone/>
              <a:defRPr sz="2000">
                <a:solidFill>
                  <a:srgbClr val="FF0000"/>
                </a:solidFill>
              </a:defRPr>
            </a:lvl3pPr>
            <a:lvl4pPr marL="357050" indent="0">
              <a:buNone/>
              <a:defRPr>
                <a:solidFill>
                  <a:srgbClr val="FF0000"/>
                </a:solidFill>
              </a:defRPr>
            </a:lvl4pPr>
          </a:lstStyle>
          <a:p>
            <a:pPr lvl="0"/>
            <a:r>
              <a:rPr lang="en-US"/>
              <a:t>Text goes here</a:t>
            </a:r>
          </a:p>
        </p:txBody>
      </p:sp>
      <p:sp>
        <p:nvSpPr>
          <p:cNvPr id="15" name="Text Placeholder 12"/>
          <p:cNvSpPr>
            <a:spLocks noGrp="1"/>
          </p:cNvSpPr>
          <p:nvPr>
            <p:ph type="body" sz="quarter" idx="15" hasCustomPrompt="1"/>
          </p:nvPr>
        </p:nvSpPr>
        <p:spPr>
          <a:xfrm>
            <a:off x="3837486" y="4818998"/>
            <a:ext cx="4551289" cy="522820"/>
          </a:xfrm>
        </p:spPr>
        <p:txBody>
          <a:bodyPr>
            <a:normAutofit/>
          </a:bodyPr>
          <a:lstStyle>
            <a:lvl1pPr marL="0" indent="0" algn="ctr">
              <a:spcBef>
                <a:spcPts val="0"/>
              </a:spcBef>
              <a:buNone/>
              <a:defRPr sz="3000">
                <a:solidFill>
                  <a:schemeClr val="tx1"/>
                </a:solidFill>
              </a:defRPr>
            </a:lvl1pPr>
          </a:lstStyle>
          <a:p>
            <a:pPr lvl="0"/>
            <a:r>
              <a:rPr lang="en-US"/>
              <a:t>Sub header</a:t>
            </a:r>
            <a:endParaRPr lang="en-GB"/>
          </a:p>
        </p:txBody>
      </p:sp>
      <p:sp>
        <p:nvSpPr>
          <p:cNvPr id="17" name="Content Placeholder 2"/>
          <p:cNvSpPr>
            <a:spLocks noGrp="1"/>
          </p:cNvSpPr>
          <p:nvPr>
            <p:ph idx="16" hasCustomPrompt="1"/>
          </p:nvPr>
        </p:nvSpPr>
        <p:spPr>
          <a:xfrm>
            <a:off x="4996475" y="5341820"/>
            <a:ext cx="2233309" cy="941751"/>
          </a:xfrm>
        </p:spPr>
        <p:txBody>
          <a:bodyPr>
            <a:normAutofit/>
          </a:bodyPr>
          <a:lstStyle>
            <a:lvl1pPr marL="0" indent="0">
              <a:spcBef>
                <a:spcPts val="0"/>
              </a:spcBef>
              <a:buNone/>
              <a:defRPr sz="2000">
                <a:solidFill>
                  <a:schemeClr val="tx2"/>
                </a:solidFill>
              </a:defRPr>
            </a:lvl1pPr>
            <a:lvl2pPr marL="177732" indent="0">
              <a:buFont typeface="Arial" panose="020B0604020202020204" pitchFamily="34" charset="0"/>
              <a:buNone/>
              <a:defRPr sz="2200">
                <a:solidFill>
                  <a:srgbClr val="FF0000"/>
                </a:solidFill>
              </a:defRPr>
            </a:lvl2pPr>
            <a:lvl3pPr marL="185666" indent="0">
              <a:buNone/>
              <a:defRPr sz="2000">
                <a:solidFill>
                  <a:srgbClr val="FF0000"/>
                </a:solidFill>
              </a:defRPr>
            </a:lvl3pPr>
            <a:lvl4pPr marL="357050" indent="0">
              <a:buNone/>
              <a:defRPr>
                <a:solidFill>
                  <a:srgbClr val="FF0000"/>
                </a:solidFill>
              </a:defRPr>
            </a:lvl4pPr>
          </a:lstStyle>
          <a:p>
            <a:pPr lvl="0"/>
            <a:r>
              <a:rPr lang="en-US"/>
              <a:t>Text goes here</a:t>
            </a:r>
          </a:p>
        </p:txBody>
      </p:sp>
      <p:sp>
        <p:nvSpPr>
          <p:cNvPr id="18" name="Text Placeholder 12"/>
          <p:cNvSpPr>
            <a:spLocks noGrp="1"/>
          </p:cNvSpPr>
          <p:nvPr>
            <p:ph type="body" sz="quarter" idx="17" hasCustomPrompt="1"/>
          </p:nvPr>
        </p:nvSpPr>
        <p:spPr>
          <a:xfrm>
            <a:off x="7272119" y="4818998"/>
            <a:ext cx="4551289" cy="522820"/>
          </a:xfrm>
        </p:spPr>
        <p:txBody>
          <a:bodyPr>
            <a:normAutofit/>
          </a:bodyPr>
          <a:lstStyle>
            <a:lvl1pPr marL="0" indent="0" algn="ctr">
              <a:spcBef>
                <a:spcPts val="0"/>
              </a:spcBef>
              <a:buNone/>
              <a:defRPr sz="3000">
                <a:solidFill>
                  <a:schemeClr val="tx1"/>
                </a:solidFill>
              </a:defRPr>
            </a:lvl1pPr>
          </a:lstStyle>
          <a:p>
            <a:pPr lvl="0"/>
            <a:r>
              <a:rPr lang="en-US"/>
              <a:t>Sub header</a:t>
            </a:r>
            <a:endParaRPr lang="en-GB"/>
          </a:p>
        </p:txBody>
      </p:sp>
      <p:sp>
        <p:nvSpPr>
          <p:cNvPr id="19" name="Content Placeholder 2"/>
          <p:cNvSpPr>
            <a:spLocks noGrp="1"/>
          </p:cNvSpPr>
          <p:nvPr>
            <p:ph idx="18" hasCustomPrompt="1"/>
          </p:nvPr>
        </p:nvSpPr>
        <p:spPr>
          <a:xfrm>
            <a:off x="8431108" y="5341820"/>
            <a:ext cx="2233309" cy="941751"/>
          </a:xfrm>
        </p:spPr>
        <p:txBody>
          <a:bodyPr>
            <a:normAutofit/>
          </a:bodyPr>
          <a:lstStyle>
            <a:lvl1pPr marL="0" indent="0">
              <a:spcBef>
                <a:spcPts val="0"/>
              </a:spcBef>
              <a:buNone/>
              <a:defRPr sz="2000">
                <a:solidFill>
                  <a:schemeClr val="tx2"/>
                </a:solidFill>
              </a:defRPr>
            </a:lvl1pPr>
            <a:lvl2pPr marL="177732" indent="0">
              <a:buFont typeface="Arial" panose="020B0604020202020204" pitchFamily="34" charset="0"/>
              <a:buNone/>
              <a:defRPr sz="2200">
                <a:solidFill>
                  <a:srgbClr val="FF0000"/>
                </a:solidFill>
              </a:defRPr>
            </a:lvl2pPr>
            <a:lvl3pPr marL="185666" indent="0">
              <a:buNone/>
              <a:defRPr sz="2000">
                <a:solidFill>
                  <a:srgbClr val="FF0000"/>
                </a:solidFill>
              </a:defRPr>
            </a:lvl3pPr>
            <a:lvl4pPr marL="357050" indent="0">
              <a:buNone/>
              <a:defRPr>
                <a:solidFill>
                  <a:srgbClr val="FF0000"/>
                </a:solidFill>
              </a:defRPr>
            </a:lvl4pPr>
          </a:lstStyle>
          <a:p>
            <a:pPr lvl="0"/>
            <a:r>
              <a:rPr lang="en-US"/>
              <a:t>Text goes here</a:t>
            </a:r>
          </a:p>
        </p:txBody>
      </p:sp>
    </p:spTree>
    <p:extLst>
      <p:ext uri="{BB962C8B-B14F-4D97-AF65-F5344CB8AC3E}">
        <p14:creationId xmlns:p14="http://schemas.microsoft.com/office/powerpoint/2010/main" val="17457714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486470"/>
            <a:ext cx="3660401" cy="3438338"/>
          </a:xfrm>
        </p:spPr>
        <p:txBody>
          <a:bodyPr/>
          <a:lstStyle>
            <a:lvl1pPr>
              <a:defRPr/>
            </a:lvl1pPr>
          </a:lstStyle>
          <a:p>
            <a:r>
              <a:rPr lang="en-US"/>
              <a:t>Click to edit title only slid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63" y="6124053"/>
            <a:ext cx="1230324" cy="263881"/>
          </a:xfrm>
          <a:prstGeom prst="rect">
            <a:avLst/>
          </a:prstGeom>
        </p:spPr>
      </p:pic>
    </p:spTree>
    <p:extLst>
      <p:ext uri="{BB962C8B-B14F-4D97-AF65-F5344CB8AC3E}">
        <p14:creationId xmlns:p14="http://schemas.microsoft.com/office/powerpoint/2010/main" val="81365074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Only Layout ">
    <p:spTree>
      <p:nvGrpSpPr>
        <p:cNvPr id="1" name=""/>
        <p:cNvGrpSpPr/>
        <p:nvPr/>
      </p:nvGrpSpPr>
      <p:grpSpPr>
        <a:xfrm>
          <a:off x="0" y="0"/>
          <a:ext cx="0" cy="0"/>
          <a:chOff x="0" y="0"/>
          <a:chExt cx="0" cy="0"/>
        </a:xfrm>
      </p:grpSpPr>
      <p:sp>
        <p:nvSpPr>
          <p:cNvPr id="6" name="Title 5"/>
          <p:cNvSpPr>
            <a:spLocks noGrp="1"/>
          </p:cNvSpPr>
          <p:nvPr>
            <p:ph type="title"/>
          </p:nvPr>
        </p:nvSpPr>
        <p:spPr>
          <a:xfrm>
            <a:off x="274392" y="228600"/>
            <a:ext cx="11655840" cy="548640"/>
          </a:xfrm>
        </p:spPr>
        <p:txBody>
          <a:bodyPr/>
          <a:lstStyle>
            <a:lvl1pPr>
              <a:defRPr>
                <a:latin typeface="+mj-lt"/>
              </a:defRPr>
            </a:lvl1pPr>
          </a:lstStyle>
          <a:p>
            <a:r>
              <a:rPr lang="en-US"/>
              <a:t>Click to edit Master title style</a:t>
            </a:r>
          </a:p>
        </p:txBody>
      </p:sp>
      <p:sp>
        <p:nvSpPr>
          <p:cNvPr id="10" name="Shape 5"/>
          <p:cNvSpPr/>
          <p:nvPr userDrawn="1"/>
        </p:nvSpPr>
        <p:spPr>
          <a:xfrm>
            <a:off x="551605" y="6583022"/>
            <a:ext cx="2559046" cy="134510"/>
          </a:xfrm>
          <a:prstGeom prst="rect">
            <a:avLst/>
          </a:prstGeom>
          <a:ln w="12700">
            <a:miter lim="400000"/>
          </a:ln>
          <a:extLst>
            <a:ext uri="{C572A759-6A51-4108-AA02-DFA0A04FC94B}">
              <ma14:wrappingTextBoxFlag xmlns:ma14="http://schemas.microsoft.com/office/mac/drawingml/2011/main" xmlns="" val="1"/>
            </a:ext>
          </a:extLst>
        </p:spPr>
        <p:txBody>
          <a:bodyPr wrap="none" lIns="25390" tIns="25390" rIns="25390" bIns="25390" anchor="ctr">
            <a:spAutoFit/>
          </a:bodyPr>
          <a:lstStyle/>
          <a:p>
            <a:pPr>
              <a:spcBef>
                <a:spcPts val="0"/>
              </a:spcBef>
              <a:defRPr sz="1200" cap="all"/>
            </a:pPr>
            <a:r>
              <a:rPr sz="530" cap="all">
                <a:solidFill>
                  <a:schemeClr val="bg1">
                    <a:lumMod val="50000"/>
                  </a:schemeClr>
                </a:solidFill>
                <a:latin typeface="Arial" charset="0"/>
                <a:ea typeface="Arial" charset="0"/>
                <a:cs typeface="Arial" charset="0"/>
              </a:rPr>
              <a:t>© </a:t>
            </a:r>
            <a:r>
              <a:rPr lang="en-US" sz="530" cap="all">
                <a:solidFill>
                  <a:schemeClr val="bg1">
                    <a:lumMod val="50000"/>
                  </a:schemeClr>
                </a:solidFill>
                <a:latin typeface="Arial" charset="0"/>
                <a:ea typeface="Arial" charset="0"/>
                <a:cs typeface="Arial" charset="0"/>
              </a:rPr>
              <a:t>C3</a:t>
            </a:r>
            <a:r>
              <a:rPr sz="530" cap="all">
                <a:solidFill>
                  <a:schemeClr val="bg1">
                    <a:lumMod val="50000"/>
                  </a:schemeClr>
                </a:solidFill>
                <a:latin typeface="Arial" charset="0"/>
                <a:ea typeface="Arial" charset="0"/>
                <a:cs typeface="Arial" charset="0"/>
              </a:rPr>
              <a:t> 201</a:t>
            </a:r>
            <a:r>
              <a:rPr lang="en-US" sz="530" cap="all">
                <a:solidFill>
                  <a:schemeClr val="bg1">
                    <a:lumMod val="50000"/>
                  </a:schemeClr>
                </a:solidFill>
                <a:latin typeface="Arial" charset="0"/>
                <a:ea typeface="Arial" charset="0"/>
                <a:cs typeface="Arial" charset="0"/>
              </a:rPr>
              <a:t>8</a:t>
            </a:r>
            <a:r>
              <a:rPr sz="530" cap="all">
                <a:solidFill>
                  <a:schemeClr val="bg1">
                    <a:lumMod val="50000"/>
                  </a:schemeClr>
                </a:solidFill>
                <a:latin typeface="Arial" charset="0"/>
                <a:ea typeface="Arial" charset="0"/>
                <a:cs typeface="Arial" charset="0"/>
              </a:rPr>
              <a:t>  |  confidential - DO not copy, repurpose or distribute</a:t>
            </a:r>
          </a:p>
        </p:txBody>
      </p:sp>
      <p:sp>
        <p:nvSpPr>
          <p:cNvPr id="11" name="Shape 6"/>
          <p:cNvSpPr/>
          <p:nvPr userDrawn="1"/>
        </p:nvSpPr>
        <p:spPr>
          <a:xfrm>
            <a:off x="480912" y="6578357"/>
            <a:ext cx="9147" cy="143841"/>
          </a:xfrm>
          <a:prstGeom prst="rect">
            <a:avLst/>
          </a:prstGeom>
          <a:solidFill>
            <a:srgbClr val="3D7899"/>
          </a:solidFill>
          <a:ln w="12700">
            <a:miter lim="400000"/>
          </a:ln>
        </p:spPr>
        <p:txBody>
          <a:bodyPr lIns="25390" tIns="25390" rIns="25390" bIns="25390" anchor="ctr"/>
          <a:lstStyle/>
          <a:p>
            <a:pPr>
              <a:spcBef>
                <a:spcPts val="0"/>
              </a:spcBef>
              <a:defRPr sz="2900" b="1" cap="all">
                <a:solidFill>
                  <a:srgbClr val="FFFFFF"/>
                </a:solidFill>
                <a:latin typeface="Helvetica Neue"/>
                <a:ea typeface="Helvetica Neue"/>
                <a:cs typeface="Helvetica Neue"/>
                <a:sym typeface="Helvetica Neue"/>
              </a:defRPr>
            </a:pPr>
            <a:endParaRPr sz="1450" b="1" cap="all">
              <a:solidFill>
                <a:schemeClr val="bg1">
                  <a:lumMod val="50000"/>
                </a:schemeClr>
              </a:solidFill>
              <a:latin typeface="+mn-lt"/>
              <a:ea typeface="Helvetica Neue" charset="0"/>
              <a:cs typeface="Helvetica Neue" charset="0"/>
              <a:sym typeface="Helvetica Neue"/>
            </a:endParaRPr>
          </a:p>
        </p:txBody>
      </p:sp>
      <p:sp>
        <p:nvSpPr>
          <p:cNvPr id="12" name="Shape 3"/>
          <p:cNvSpPr>
            <a:spLocks noGrp="1"/>
          </p:cNvSpPr>
          <p:nvPr>
            <p:ph type="sldNum" sz="quarter" idx="4"/>
          </p:nvPr>
        </p:nvSpPr>
        <p:spPr>
          <a:xfrm>
            <a:off x="109508" y="6545120"/>
            <a:ext cx="330967" cy="194925"/>
          </a:xfrm>
          <a:prstGeom prst="rect">
            <a:avLst/>
          </a:prstGeom>
          <a:ln w="12700">
            <a:miter lim="400000"/>
          </a:ln>
        </p:spPr>
        <p:txBody>
          <a:bodyPr wrap="square" lIns="50800" tIns="50800" rIns="50800" bIns="50800">
            <a:spAutoFit/>
          </a:bodyPr>
          <a:lstStyle>
            <a:lvl1pPr algn="r">
              <a:spcBef>
                <a:spcPts val="0"/>
              </a:spcBef>
              <a:defRPr sz="600" b="1">
                <a:solidFill>
                  <a:schemeClr val="tx1">
                    <a:lumMod val="50000"/>
                  </a:schemeClr>
                </a:solidFill>
                <a:latin typeface="Arial" panose="020B0604020202020204" pitchFamily="34" charset="0"/>
                <a:ea typeface="Helvetica Neue" charset="0"/>
                <a:cs typeface="Arial" panose="020B0604020202020204" pitchFamily="34" charset="0"/>
                <a:sym typeface="Helvetica Neue"/>
              </a:defRPr>
            </a:lvl1pPr>
          </a:lstStyle>
          <a:p>
            <a:fld id="{86CB4B4D-7CA3-9044-876B-883B54F8677D}" type="slidenum">
              <a:rPr lang="uk-UA" smtClean="0"/>
              <a:pPr/>
              <a:t>‹#›</a:t>
            </a:fld>
            <a:endParaRPr lang="uk-UA"/>
          </a:p>
        </p:txBody>
      </p:sp>
      <p:grpSp>
        <p:nvGrpSpPr>
          <p:cNvPr id="7" name="C3">
            <a:extLst>
              <a:ext uri="{FF2B5EF4-FFF2-40B4-BE49-F238E27FC236}">
                <a16:creationId xmlns:a16="http://schemas.microsoft.com/office/drawing/2014/main" id="{8758D2B7-EC88-694A-9EE0-CBD110542E7F}"/>
              </a:ext>
            </a:extLst>
          </p:cNvPr>
          <p:cNvGrpSpPr>
            <a:grpSpLocks noChangeAspect="1"/>
          </p:cNvGrpSpPr>
          <p:nvPr userDrawn="1"/>
        </p:nvGrpSpPr>
        <p:grpSpPr>
          <a:xfrm>
            <a:off x="11678348" y="6449894"/>
            <a:ext cx="232459" cy="274320"/>
            <a:chOff x="4692224" y="449250"/>
            <a:chExt cx="728663" cy="860107"/>
          </a:xfrm>
          <a:solidFill>
            <a:schemeClr val="accent2"/>
          </a:solidFill>
        </p:grpSpPr>
        <p:sp>
          <p:nvSpPr>
            <p:cNvPr id="8" name="Freeform 7">
              <a:extLst>
                <a:ext uri="{FF2B5EF4-FFF2-40B4-BE49-F238E27FC236}">
                  <a16:creationId xmlns:a16="http://schemas.microsoft.com/office/drawing/2014/main" id="{8E089901-3616-C84A-8F97-34F08762EBAB}"/>
                </a:ext>
              </a:extLst>
            </p:cNvPr>
            <p:cNvSpPr/>
            <p:nvPr/>
          </p:nvSpPr>
          <p:spPr>
            <a:xfrm>
              <a:off x="4925587" y="536880"/>
              <a:ext cx="381000" cy="371475"/>
            </a:xfrm>
            <a:custGeom>
              <a:avLst/>
              <a:gdLst>
                <a:gd name="connsiteX0" fmla="*/ 299561 w 381000"/>
                <a:gd name="connsiteY0" fmla="*/ 40481 h 371475"/>
                <a:gd name="connsiteX1" fmla="*/ 317659 w 381000"/>
                <a:gd name="connsiteY1" fmla="*/ 50959 h 371475"/>
                <a:gd name="connsiteX2" fmla="*/ 98584 w 381000"/>
                <a:gd name="connsiteY2" fmla="*/ 150971 h 371475"/>
                <a:gd name="connsiteX3" fmla="*/ 56674 w 381000"/>
                <a:gd name="connsiteY3" fmla="*/ 127159 h 371475"/>
                <a:gd name="connsiteX4" fmla="*/ 7144 w 381000"/>
                <a:gd name="connsiteY4" fmla="*/ 176689 h 371475"/>
                <a:gd name="connsiteX5" fmla="*/ 56674 w 381000"/>
                <a:gd name="connsiteY5" fmla="*/ 226219 h 371475"/>
                <a:gd name="connsiteX6" fmla="*/ 81439 w 381000"/>
                <a:gd name="connsiteY6" fmla="*/ 219551 h 371475"/>
                <a:gd name="connsiteX7" fmla="*/ 263366 w 381000"/>
                <a:gd name="connsiteY7" fmla="*/ 308134 h 371475"/>
                <a:gd name="connsiteX8" fmla="*/ 263366 w 381000"/>
                <a:gd name="connsiteY8" fmla="*/ 308134 h 371475"/>
                <a:gd name="connsiteX9" fmla="*/ 263366 w 381000"/>
                <a:gd name="connsiteY9" fmla="*/ 310039 h 371475"/>
                <a:gd name="connsiteX10" fmla="*/ 320516 w 381000"/>
                <a:gd name="connsiteY10" fmla="*/ 367189 h 371475"/>
                <a:gd name="connsiteX11" fmla="*/ 377666 w 381000"/>
                <a:gd name="connsiteY11" fmla="*/ 310039 h 371475"/>
                <a:gd name="connsiteX12" fmla="*/ 320516 w 381000"/>
                <a:gd name="connsiteY12" fmla="*/ 252889 h 371475"/>
                <a:gd name="connsiteX13" fmla="*/ 270986 w 381000"/>
                <a:gd name="connsiteY13" fmla="*/ 282416 h 371475"/>
                <a:gd name="connsiteX14" fmla="*/ 270986 w 381000"/>
                <a:gd name="connsiteY14" fmla="*/ 282416 h 371475"/>
                <a:gd name="connsiteX15" fmla="*/ 270986 w 381000"/>
                <a:gd name="connsiteY15" fmla="*/ 282416 h 371475"/>
                <a:gd name="connsiteX16" fmla="*/ 270986 w 381000"/>
                <a:gd name="connsiteY16" fmla="*/ 282416 h 371475"/>
                <a:gd name="connsiteX17" fmla="*/ 64294 w 381000"/>
                <a:gd name="connsiteY17" fmla="*/ 184309 h 371475"/>
                <a:gd name="connsiteX18" fmla="*/ 77629 w 381000"/>
                <a:gd name="connsiteY18" fmla="*/ 170021 h 371475"/>
                <a:gd name="connsiteX19" fmla="*/ 95726 w 381000"/>
                <a:gd name="connsiteY19" fmla="*/ 174784 h 371475"/>
                <a:gd name="connsiteX20" fmla="*/ 106204 w 381000"/>
                <a:gd name="connsiteY20" fmla="*/ 179546 h 371475"/>
                <a:gd name="connsiteX21" fmla="*/ 106204 w 381000"/>
                <a:gd name="connsiteY21" fmla="*/ 179546 h 371475"/>
                <a:gd name="connsiteX22" fmla="*/ 106204 w 381000"/>
                <a:gd name="connsiteY22" fmla="*/ 175736 h 371475"/>
                <a:gd name="connsiteX23" fmla="*/ 105251 w 381000"/>
                <a:gd name="connsiteY23" fmla="*/ 164306 h 371475"/>
                <a:gd name="connsiteX24" fmla="*/ 105251 w 381000"/>
                <a:gd name="connsiteY24" fmla="*/ 164306 h 371475"/>
                <a:gd name="connsiteX25" fmla="*/ 293846 w 381000"/>
                <a:gd name="connsiteY25" fmla="*/ 74771 h 371475"/>
                <a:gd name="connsiteX26" fmla="*/ 320516 w 381000"/>
                <a:gd name="connsiteY26" fmla="*/ 85249 h 371475"/>
                <a:gd name="connsiteX27" fmla="*/ 359569 w 381000"/>
                <a:gd name="connsiteY27" fmla="*/ 46196 h 371475"/>
                <a:gd name="connsiteX28" fmla="*/ 320516 w 381000"/>
                <a:gd name="connsiteY28" fmla="*/ 7144 h 371475"/>
                <a:gd name="connsiteX29" fmla="*/ 281464 w 381000"/>
                <a:gd name="connsiteY29" fmla="*/ 46196 h 371475"/>
                <a:gd name="connsiteX30" fmla="*/ 281464 w 381000"/>
                <a:gd name="connsiteY30" fmla="*/ 47149 h 371475"/>
                <a:gd name="connsiteX31" fmla="*/ 281464 w 381000"/>
                <a:gd name="connsiteY31" fmla="*/ 47149 h 371475"/>
                <a:gd name="connsiteX32" fmla="*/ 299561 w 381000"/>
                <a:gd name="connsiteY32" fmla="*/ 4048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1000" h="371475">
                  <a:moveTo>
                    <a:pt x="299561" y="40481"/>
                  </a:moveTo>
                  <a:cubicBezTo>
                    <a:pt x="299561" y="40481"/>
                    <a:pt x="312896" y="36671"/>
                    <a:pt x="317659" y="50959"/>
                  </a:cubicBezTo>
                  <a:lnTo>
                    <a:pt x="98584" y="150971"/>
                  </a:lnTo>
                  <a:cubicBezTo>
                    <a:pt x="90011" y="136684"/>
                    <a:pt x="73819" y="127159"/>
                    <a:pt x="56674" y="127159"/>
                  </a:cubicBezTo>
                  <a:cubicBezTo>
                    <a:pt x="29051" y="127159"/>
                    <a:pt x="7144" y="149066"/>
                    <a:pt x="7144" y="176689"/>
                  </a:cubicBezTo>
                  <a:cubicBezTo>
                    <a:pt x="7144" y="204311"/>
                    <a:pt x="29051" y="226219"/>
                    <a:pt x="56674" y="226219"/>
                  </a:cubicBezTo>
                  <a:cubicBezTo>
                    <a:pt x="66199" y="226219"/>
                    <a:pt x="73819" y="223361"/>
                    <a:pt x="81439" y="219551"/>
                  </a:cubicBezTo>
                  <a:lnTo>
                    <a:pt x="263366" y="308134"/>
                  </a:lnTo>
                  <a:lnTo>
                    <a:pt x="263366" y="308134"/>
                  </a:lnTo>
                  <a:cubicBezTo>
                    <a:pt x="263366" y="309086"/>
                    <a:pt x="263366" y="309086"/>
                    <a:pt x="263366" y="310039"/>
                  </a:cubicBezTo>
                  <a:cubicBezTo>
                    <a:pt x="263366" y="341471"/>
                    <a:pt x="289084" y="367189"/>
                    <a:pt x="320516" y="367189"/>
                  </a:cubicBezTo>
                  <a:cubicBezTo>
                    <a:pt x="351949" y="367189"/>
                    <a:pt x="377666" y="341471"/>
                    <a:pt x="377666" y="310039"/>
                  </a:cubicBezTo>
                  <a:cubicBezTo>
                    <a:pt x="377666" y="278606"/>
                    <a:pt x="351949" y="252889"/>
                    <a:pt x="320516" y="252889"/>
                  </a:cubicBezTo>
                  <a:cubicBezTo>
                    <a:pt x="298609" y="252889"/>
                    <a:pt x="280511" y="264319"/>
                    <a:pt x="270986" y="282416"/>
                  </a:cubicBezTo>
                  <a:lnTo>
                    <a:pt x="270986" y="282416"/>
                  </a:lnTo>
                  <a:lnTo>
                    <a:pt x="270986" y="282416"/>
                  </a:lnTo>
                  <a:cubicBezTo>
                    <a:pt x="270986" y="282416"/>
                    <a:pt x="270986" y="282416"/>
                    <a:pt x="270986" y="282416"/>
                  </a:cubicBezTo>
                  <a:lnTo>
                    <a:pt x="64294" y="184309"/>
                  </a:lnTo>
                  <a:cubicBezTo>
                    <a:pt x="64294" y="184309"/>
                    <a:pt x="66199" y="173831"/>
                    <a:pt x="77629" y="170021"/>
                  </a:cubicBezTo>
                  <a:cubicBezTo>
                    <a:pt x="84296" y="168116"/>
                    <a:pt x="95726" y="174784"/>
                    <a:pt x="95726" y="174784"/>
                  </a:cubicBezTo>
                  <a:lnTo>
                    <a:pt x="106204" y="179546"/>
                  </a:lnTo>
                  <a:lnTo>
                    <a:pt x="106204" y="179546"/>
                  </a:lnTo>
                  <a:cubicBezTo>
                    <a:pt x="106204" y="178594"/>
                    <a:pt x="106204" y="177641"/>
                    <a:pt x="106204" y="175736"/>
                  </a:cubicBezTo>
                  <a:cubicBezTo>
                    <a:pt x="106204" y="171926"/>
                    <a:pt x="106204" y="168116"/>
                    <a:pt x="105251" y="164306"/>
                  </a:cubicBezTo>
                  <a:lnTo>
                    <a:pt x="105251" y="164306"/>
                  </a:lnTo>
                  <a:lnTo>
                    <a:pt x="293846" y="74771"/>
                  </a:lnTo>
                  <a:cubicBezTo>
                    <a:pt x="300514" y="81439"/>
                    <a:pt x="310039" y="85249"/>
                    <a:pt x="320516" y="85249"/>
                  </a:cubicBezTo>
                  <a:cubicBezTo>
                    <a:pt x="342424" y="85249"/>
                    <a:pt x="359569" y="68104"/>
                    <a:pt x="359569" y="46196"/>
                  </a:cubicBezTo>
                  <a:cubicBezTo>
                    <a:pt x="359569" y="24289"/>
                    <a:pt x="342424" y="7144"/>
                    <a:pt x="320516" y="7144"/>
                  </a:cubicBezTo>
                  <a:cubicBezTo>
                    <a:pt x="298609" y="7144"/>
                    <a:pt x="281464" y="24289"/>
                    <a:pt x="281464" y="46196"/>
                  </a:cubicBezTo>
                  <a:cubicBezTo>
                    <a:pt x="281464" y="46196"/>
                    <a:pt x="281464" y="47149"/>
                    <a:pt x="281464" y="47149"/>
                  </a:cubicBezTo>
                  <a:lnTo>
                    <a:pt x="281464" y="47149"/>
                  </a:lnTo>
                  <a:lnTo>
                    <a:pt x="299561" y="40481"/>
                  </a:lnTo>
                  <a:close/>
                </a:path>
              </a:pathLst>
            </a:custGeom>
            <a:grpFill/>
            <a:ln w="9525" cap="flat">
              <a:noFill/>
              <a:prstDash val="solid"/>
              <a:miter/>
            </a:ln>
          </p:spPr>
          <p:txBody>
            <a:bodyPr rtlCol="0" anchor="ctr"/>
            <a:lstStyle/>
            <a:p>
              <a:endParaRPr lang="en-US" sz="1800"/>
            </a:p>
          </p:txBody>
        </p:sp>
        <p:sp>
          <p:nvSpPr>
            <p:cNvPr id="9" name="Freeform 8">
              <a:extLst>
                <a:ext uri="{FF2B5EF4-FFF2-40B4-BE49-F238E27FC236}">
                  <a16:creationId xmlns:a16="http://schemas.microsoft.com/office/drawing/2014/main" id="{0343899F-B27F-8249-974E-782B3568ADE2}"/>
                </a:ext>
              </a:extLst>
            </p:cNvPr>
            <p:cNvSpPr/>
            <p:nvPr/>
          </p:nvSpPr>
          <p:spPr>
            <a:xfrm>
              <a:off x="5068462" y="680707"/>
              <a:ext cx="352425" cy="628650"/>
            </a:xfrm>
            <a:custGeom>
              <a:avLst/>
              <a:gdLst>
                <a:gd name="connsiteX0" fmla="*/ 64294 w 352425"/>
                <a:gd name="connsiteY0" fmla="*/ 449104 h 628650"/>
                <a:gd name="connsiteX1" fmla="*/ 7144 w 352425"/>
                <a:gd name="connsiteY1" fmla="*/ 449104 h 628650"/>
                <a:gd name="connsiteX2" fmla="*/ 7144 w 352425"/>
                <a:gd name="connsiteY2" fmla="*/ 455771 h 628650"/>
                <a:gd name="connsiteX3" fmla="*/ 60484 w 352425"/>
                <a:gd name="connsiteY3" fmla="*/ 572929 h 628650"/>
                <a:gd name="connsiteX4" fmla="*/ 180499 w 352425"/>
                <a:gd name="connsiteY4" fmla="*/ 621506 h 628650"/>
                <a:gd name="connsiteX5" fmla="*/ 353854 w 352425"/>
                <a:gd name="connsiteY5" fmla="*/ 448151 h 628650"/>
                <a:gd name="connsiteX6" fmla="*/ 327184 w 352425"/>
                <a:gd name="connsiteY6" fmla="*/ 355759 h 628650"/>
                <a:gd name="connsiteX7" fmla="*/ 270986 w 352425"/>
                <a:gd name="connsiteY7" fmla="*/ 300514 h 628650"/>
                <a:gd name="connsiteX8" fmla="*/ 268129 w 352425"/>
                <a:gd name="connsiteY8" fmla="*/ 298609 h 628650"/>
                <a:gd name="connsiteX9" fmla="*/ 270986 w 352425"/>
                <a:gd name="connsiteY9" fmla="*/ 296704 h 628650"/>
                <a:gd name="connsiteX10" fmla="*/ 339566 w 352425"/>
                <a:gd name="connsiteY10" fmla="*/ 166211 h 628650"/>
                <a:gd name="connsiteX11" fmla="*/ 292894 w 352425"/>
                <a:gd name="connsiteY11" fmla="*/ 53816 h 628650"/>
                <a:gd name="connsiteX12" fmla="*/ 180499 w 352425"/>
                <a:gd name="connsiteY12" fmla="*/ 7144 h 628650"/>
                <a:gd name="connsiteX13" fmla="*/ 96679 w 352425"/>
                <a:gd name="connsiteY13" fmla="*/ 30956 h 628650"/>
                <a:gd name="connsiteX14" fmla="*/ 95726 w 352425"/>
                <a:gd name="connsiteY14" fmla="*/ 30956 h 628650"/>
                <a:gd name="connsiteX15" fmla="*/ 95726 w 352425"/>
                <a:gd name="connsiteY15" fmla="*/ 98584 h 628650"/>
                <a:gd name="connsiteX16" fmla="*/ 97631 w 352425"/>
                <a:gd name="connsiteY16" fmla="*/ 96679 h 628650"/>
                <a:gd name="connsiteX17" fmla="*/ 104299 w 352425"/>
                <a:gd name="connsiteY17" fmla="*/ 90011 h 628650"/>
                <a:gd name="connsiteX18" fmla="*/ 134779 w 352425"/>
                <a:gd name="connsiteY18" fmla="*/ 70961 h 628650"/>
                <a:gd name="connsiteX19" fmla="*/ 176689 w 352425"/>
                <a:gd name="connsiteY19" fmla="*/ 62389 h 628650"/>
                <a:gd name="connsiteX20" fmla="*/ 213836 w 352425"/>
                <a:gd name="connsiteY20" fmla="*/ 69056 h 628650"/>
                <a:gd name="connsiteX21" fmla="*/ 251936 w 352425"/>
                <a:gd name="connsiteY21" fmla="*/ 92869 h 628650"/>
                <a:gd name="connsiteX22" fmla="*/ 255746 w 352425"/>
                <a:gd name="connsiteY22" fmla="*/ 97631 h 628650"/>
                <a:gd name="connsiteX23" fmla="*/ 282416 w 352425"/>
                <a:gd name="connsiteY23" fmla="*/ 165259 h 628650"/>
                <a:gd name="connsiteX24" fmla="*/ 270986 w 352425"/>
                <a:gd name="connsiteY24" fmla="*/ 211931 h 628650"/>
                <a:gd name="connsiteX25" fmla="*/ 236696 w 352425"/>
                <a:gd name="connsiteY25" fmla="*/ 250031 h 628650"/>
                <a:gd name="connsiteX26" fmla="*/ 187166 w 352425"/>
                <a:gd name="connsiteY26" fmla="*/ 268129 h 628650"/>
                <a:gd name="connsiteX27" fmla="*/ 171926 w 352425"/>
                <a:gd name="connsiteY27" fmla="*/ 268129 h 628650"/>
                <a:gd name="connsiteX28" fmla="*/ 171926 w 352425"/>
                <a:gd name="connsiteY28" fmla="*/ 332899 h 628650"/>
                <a:gd name="connsiteX29" fmla="*/ 176689 w 352425"/>
                <a:gd name="connsiteY29" fmla="*/ 332899 h 628650"/>
                <a:gd name="connsiteX30" fmla="*/ 180499 w 352425"/>
                <a:gd name="connsiteY30" fmla="*/ 332899 h 628650"/>
                <a:gd name="connsiteX31" fmla="*/ 180499 w 352425"/>
                <a:gd name="connsiteY31" fmla="*/ 332899 h 628650"/>
                <a:gd name="connsiteX32" fmla="*/ 217646 w 352425"/>
                <a:gd name="connsiteY32" fmla="*/ 338614 h 628650"/>
                <a:gd name="connsiteX33" fmla="*/ 217646 w 352425"/>
                <a:gd name="connsiteY33" fmla="*/ 338614 h 628650"/>
                <a:gd name="connsiteX34" fmla="*/ 218599 w 352425"/>
                <a:gd name="connsiteY34" fmla="*/ 338614 h 628650"/>
                <a:gd name="connsiteX35" fmla="*/ 218599 w 352425"/>
                <a:gd name="connsiteY35" fmla="*/ 338614 h 628650"/>
                <a:gd name="connsiteX36" fmla="*/ 281464 w 352425"/>
                <a:gd name="connsiteY36" fmla="*/ 391001 h 628650"/>
                <a:gd name="connsiteX37" fmla="*/ 281464 w 352425"/>
                <a:gd name="connsiteY37" fmla="*/ 391001 h 628650"/>
                <a:gd name="connsiteX38" fmla="*/ 281464 w 352425"/>
                <a:gd name="connsiteY38" fmla="*/ 391001 h 628650"/>
                <a:gd name="connsiteX39" fmla="*/ 281464 w 352425"/>
                <a:gd name="connsiteY39" fmla="*/ 391001 h 628650"/>
                <a:gd name="connsiteX40" fmla="*/ 281464 w 352425"/>
                <a:gd name="connsiteY40" fmla="*/ 391001 h 628650"/>
                <a:gd name="connsiteX41" fmla="*/ 296704 w 352425"/>
                <a:gd name="connsiteY41" fmla="*/ 449104 h 628650"/>
                <a:gd name="connsiteX42" fmla="*/ 179546 w 352425"/>
                <a:gd name="connsiteY42" fmla="*/ 566261 h 628650"/>
                <a:gd name="connsiteX43" fmla="*/ 124301 w 352425"/>
                <a:gd name="connsiteY43" fmla="*/ 551974 h 628650"/>
                <a:gd name="connsiteX44" fmla="*/ 124301 w 352425"/>
                <a:gd name="connsiteY44" fmla="*/ 551021 h 628650"/>
                <a:gd name="connsiteX45" fmla="*/ 64294 w 352425"/>
                <a:gd name="connsiteY45" fmla="*/ 449104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52425" h="628650">
                  <a:moveTo>
                    <a:pt x="64294" y="449104"/>
                  </a:moveTo>
                  <a:lnTo>
                    <a:pt x="7144" y="449104"/>
                  </a:lnTo>
                  <a:lnTo>
                    <a:pt x="7144" y="455771"/>
                  </a:lnTo>
                  <a:cubicBezTo>
                    <a:pt x="9049" y="500539"/>
                    <a:pt x="28099" y="541496"/>
                    <a:pt x="60484" y="572929"/>
                  </a:cubicBezTo>
                  <a:cubicBezTo>
                    <a:pt x="92869" y="604361"/>
                    <a:pt x="135731" y="621506"/>
                    <a:pt x="180499" y="621506"/>
                  </a:cubicBezTo>
                  <a:cubicBezTo>
                    <a:pt x="276701" y="621506"/>
                    <a:pt x="353854" y="543401"/>
                    <a:pt x="353854" y="448151"/>
                  </a:cubicBezTo>
                  <a:cubicBezTo>
                    <a:pt x="353854" y="414814"/>
                    <a:pt x="344329" y="383381"/>
                    <a:pt x="327184" y="355759"/>
                  </a:cubicBezTo>
                  <a:cubicBezTo>
                    <a:pt x="312896" y="332899"/>
                    <a:pt x="292894" y="313849"/>
                    <a:pt x="270986" y="300514"/>
                  </a:cubicBezTo>
                  <a:lnTo>
                    <a:pt x="268129" y="298609"/>
                  </a:lnTo>
                  <a:lnTo>
                    <a:pt x="270986" y="296704"/>
                  </a:lnTo>
                  <a:cubicBezTo>
                    <a:pt x="313849" y="267176"/>
                    <a:pt x="339566" y="217646"/>
                    <a:pt x="339566" y="166211"/>
                  </a:cubicBezTo>
                  <a:cubicBezTo>
                    <a:pt x="339566" y="123349"/>
                    <a:pt x="323374" y="83344"/>
                    <a:pt x="292894" y="53816"/>
                  </a:cubicBezTo>
                  <a:cubicBezTo>
                    <a:pt x="262414" y="23336"/>
                    <a:pt x="223361" y="7144"/>
                    <a:pt x="180499" y="7144"/>
                  </a:cubicBezTo>
                  <a:cubicBezTo>
                    <a:pt x="150971" y="7144"/>
                    <a:pt x="122396" y="15716"/>
                    <a:pt x="96679" y="30956"/>
                  </a:cubicBezTo>
                  <a:lnTo>
                    <a:pt x="95726" y="30956"/>
                  </a:lnTo>
                  <a:lnTo>
                    <a:pt x="95726" y="98584"/>
                  </a:lnTo>
                  <a:lnTo>
                    <a:pt x="97631" y="96679"/>
                  </a:lnTo>
                  <a:cubicBezTo>
                    <a:pt x="99536" y="94774"/>
                    <a:pt x="102394" y="91916"/>
                    <a:pt x="104299" y="90011"/>
                  </a:cubicBezTo>
                  <a:cubicBezTo>
                    <a:pt x="112871" y="81439"/>
                    <a:pt x="123349" y="75724"/>
                    <a:pt x="134779" y="70961"/>
                  </a:cubicBezTo>
                  <a:cubicBezTo>
                    <a:pt x="148114" y="65246"/>
                    <a:pt x="162401" y="62389"/>
                    <a:pt x="176689" y="62389"/>
                  </a:cubicBezTo>
                  <a:cubicBezTo>
                    <a:pt x="190024" y="62389"/>
                    <a:pt x="202406" y="64294"/>
                    <a:pt x="213836" y="69056"/>
                  </a:cubicBezTo>
                  <a:cubicBezTo>
                    <a:pt x="228124" y="73819"/>
                    <a:pt x="241459" y="82391"/>
                    <a:pt x="251936" y="92869"/>
                  </a:cubicBezTo>
                  <a:cubicBezTo>
                    <a:pt x="252889" y="93821"/>
                    <a:pt x="254794" y="95726"/>
                    <a:pt x="255746" y="97631"/>
                  </a:cubicBezTo>
                  <a:cubicBezTo>
                    <a:pt x="272891" y="116681"/>
                    <a:pt x="282416" y="140494"/>
                    <a:pt x="282416" y="165259"/>
                  </a:cubicBezTo>
                  <a:cubicBezTo>
                    <a:pt x="282416" y="181451"/>
                    <a:pt x="278606" y="197644"/>
                    <a:pt x="270986" y="211931"/>
                  </a:cubicBezTo>
                  <a:cubicBezTo>
                    <a:pt x="263366" y="227171"/>
                    <a:pt x="250984" y="240506"/>
                    <a:pt x="236696" y="250031"/>
                  </a:cubicBezTo>
                  <a:cubicBezTo>
                    <a:pt x="221456" y="259556"/>
                    <a:pt x="204311" y="266224"/>
                    <a:pt x="187166" y="268129"/>
                  </a:cubicBezTo>
                  <a:cubicBezTo>
                    <a:pt x="182404" y="268129"/>
                    <a:pt x="176689" y="269081"/>
                    <a:pt x="171926" y="268129"/>
                  </a:cubicBezTo>
                  <a:lnTo>
                    <a:pt x="171926" y="332899"/>
                  </a:lnTo>
                  <a:lnTo>
                    <a:pt x="176689" y="332899"/>
                  </a:lnTo>
                  <a:cubicBezTo>
                    <a:pt x="177641" y="332899"/>
                    <a:pt x="179546" y="332899"/>
                    <a:pt x="180499" y="332899"/>
                  </a:cubicBezTo>
                  <a:lnTo>
                    <a:pt x="180499" y="332899"/>
                  </a:lnTo>
                  <a:cubicBezTo>
                    <a:pt x="192881" y="332899"/>
                    <a:pt x="205264" y="334804"/>
                    <a:pt x="217646" y="338614"/>
                  </a:cubicBezTo>
                  <a:lnTo>
                    <a:pt x="217646" y="338614"/>
                  </a:lnTo>
                  <a:cubicBezTo>
                    <a:pt x="217646" y="338614"/>
                    <a:pt x="217646" y="338614"/>
                    <a:pt x="218599" y="338614"/>
                  </a:cubicBezTo>
                  <a:lnTo>
                    <a:pt x="218599" y="338614"/>
                  </a:lnTo>
                  <a:cubicBezTo>
                    <a:pt x="245269" y="348139"/>
                    <a:pt x="267176" y="366236"/>
                    <a:pt x="281464" y="391001"/>
                  </a:cubicBezTo>
                  <a:lnTo>
                    <a:pt x="281464" y="391001"/>
                  </a:lnTo>
                  <a:lnTo>
                    <a:pt x="281464" y="391001"/>
                  </a:lnTo>
                  <a:lnTo>
                    <a:pt x="281464" y="391001"/>
                  </a:lnTo>
                  <a:lnTo>
                    <a:pt x="281464" y="391001"/>
                  </a:lnTo>
                  <a:cubicBezTo>
                    <a:pt x="291941" y="409099"/>
                    <a:pt x="296704" y="429101"/>
                    <a:pt x="296704" y="449104"/>
                  </a:cubicBezTo>
                  <a:cubicBezTo>
                    <a:pt x="296704" y="513874"/>
                    <a:pt x="244316" y="566261"/>
                    <a:pt x="179546" y="566261"/>
                  </a:cubicBezTo>
                  <a:cubicBezTo>
                    <a:pt x="160496" y="566261"/>
                    <a:pt x="141446" y="561499"/>
                    <a:pt x="124301" y="551974"/>
                  </a:cubicBezTo>
                  <a:lnTo>
                    <a:pt x="124301" y="551021"/>
                  </a:lnTo>
                  <a:cubicBezTo>
                    <a:pt x="88106" y="530066"/>
                    <a:pt x="65246" y="491966"/>
                    <a:pt x="64294" y="449104"/>
                  </a:cubicBezTo>
                  <a:close/>
                </a:path>
              </a:pathLst>
            </a:custGeom>
            <a:grpFill/>
            <a:ln w="9525" cap="flat">
              <a:noFill/>
              <a:prstDash val="solid"/>
              <a:miter/>
            </a:ln>
          </p:spPr>
          <p:txBody>
            <a:bodyPr rtlCol="0" anchor="ctr"/>
            <a:lstStyle/>
            <a:p>
              <a:endParaRPr lang="en-US" sz="1800"/>
            </a:p>
          </p:txBody>
        </p:sp>
        <p:sp>
          <p:nvSpPr>
            <p:cNvPr id="13" name="Freeform 12">
              <a:extLst>
                <a:ext uri="{FF2B5EF4-FFF2-40B4-BE49-F238E27FC236}">
                  <a16:creationId xmlns:a16="http://schemas.microsoft.com/office/drawing/2014/main" id="{627D0E04-7F92-C044-AD64-313BAFC3F5EA}"/>
                </a:ext>
              </a:extLst>
            </p:cNvPr>
            <p:cNvSpPr/>
            <p:nvPr/>
          </p:nvSpPr>
          <p:spPr>
            <a:xfrm>
              <a:off x="4692224" y="449250"/>
              <a:ext cx="381000" cy="533400"/>
            </a:xfrm>
            <a:custGeom>
              <a:avLst/>
              <a:gdLst>
                <a:gd name="connsiteX0" fmla="*/ 130969 w 381000"/>
                <a:gd name="connsiteY0" fmla="*/ 410051 h 533400"/>
                <a:gd name="connsiteX1" fmla="*/ 86201 w 381000"/>
                <a:gd name="connsiteY1" fmla="*/ 346234 h 533400"/>
                <a:gd name="connsiteX2" fmla="*/ 70009 w 381000"/>
                <a:gd name="connsiteY2" fmla="*/ 267176 h 533400"/>
                <a:gd name="connsiteX3" fmla="*/ 98584 w 381000"/>
                <a:gd name="connsiteY3" fmla="*/ 165259 h 533400"/>
                <a:gd name="connsiteX4" fmla="*/ 99536 w 381000"/>
                <a:gd name="connsiteY4" fmla="*/ 164306 h 533400"/>
                <a:gd name="connsiteX5" fmla="*/ 100489 w 381000"/>
                <a:gd name="connsiteY5" fmla="*/ 163354 h 533400"/>
                <a:gd name="connsiteX6" fmla="*/ 101441 w 381000"/>
                <a:gd name="connsiteY6" fmla="*/ 162401 h 533400"/>
                <a:gd name="connsiteX7" fmla="*/ 171926 w 381000"/>
                <a:gd name="connsiteY7" fmla="*/ 95726 h 533400"/>
                <a:gd name="connsiteX8" fmla="*/ 269081 w 381000"/>
                <a:gd name="connsiteY8" fmla="*/ 70009 h 533400"/>
                <a:gd name="connsiteX9" fmla="*/ 379571 w 381000"/>
                <a:gd name="connsiteY9" fmla="*/ 104299 h 533400"/>
                <a:gd name="connsiteX10" fmla="*/ 379571 w 381000"/>
                <a:gd name="connsiteY10" fmla="*/ 31909 h 533400"/>
                <a:gd name="connsiteX11" fmla="*/ 374809 w 381000"/>
                <a:gd name="connsiteY11" fmla="*/ 30004 h 533400"/>
                <a:gd name="connsiteX12" fmla="*/ 268129 w 381000"/>
                <a:gd name="connsiteY12" fmla="*/ 7144 h 533400"/>
                <a:gd name="connsiteX13" fmla="*/ 83344 w 381000"/>
                <a:gd name="connsiteY13" fmla="*/ 83344 h 533400"/>
                <a:gd name="connsiteX14" fmla="*/ 7144 w 381000"/>
                <a:gd name="connsiteY14" fmla="*/ 268129 h 533400"/>
                <a:gd name="connsiteX15" fmla="*/ 268129 w 381000"/>
                <a:gd name="connsiteY15" fmla="*/ 529114 h 533400"/>
                <a:gd name="connsiteX16" fmla="*/ 374809 w 381000"/>
                <a:gd name="connsiteY16" fmla="*/ 506254 h 533400"/>
                <a:gd name="connsiteX17" fmla="*/ 379571 w 381000"/>
                <a:gd name="connsiteY17" fmla="*/ 504349 h 533400"/>
                <a:gd name="connsiteX18" fmla="*/ 379571 w 381000"/>
                <a:gd name="connsiteY18" fmla="*/ 446246 h 533400"/>
                <a:gd name="connsiteX19" fmla="*/ 379571 w 381000"/>
                <a:gd name="connsiteY19" fmla="*/ 431959 h 533400"/>
                <a:gd name="connsiteX20" fmla="*/ 269081 w 381000"/>
                <a:gd name="connsiteY20" fmla="*/ 466249 h 533400"/>
                <a:gd name="connsiteX21" fmla="*/ 130969 w 381000"/>
                <a:gd name="connsiteY21" fmla="*/ 41005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0" h="533400">
                  <a:moveTo>
                    <a:pt x="130969" y="410051"/>
                  </a:moveTo>
                  <a:cubicBezTo>
                    <a:pt x="111919" y="391954"/>
                    <a:pt x="96679" y="370999"/>
                    <a:pt x="86201" y="346234"/>
                  </a:cubicBezTo>
                  <a:cubicBezTo>
                    <a:pt x="75724" y="321469"/>
                    <a:pt x="70009" y="294799"/>
                    <a:pt x="70009" y="267176"/>
                  </a:cubicBezTo>
                  <a:cubicBezTo>
                    <a:pt x="70009" y="230981"/>
                    <a:pt x="79534" y="195739"/>
                    <a:pt x="98584" y="165259"/>
                  </a:cubicBezTo>
                  <a:cubicBezTo>
                    <a:pt x="98584" y="165259"/>
                    <a:pt x="99536" y="164306"/>
                    <a:pt x="99536" y="164306"/>
                  </a:cubicBezTo>
                  <a:lnTo>
                    <a:pt x="100489" y="163354"/>
                  </a:lnTo>
                  <a:cubicBezTo>
                    <a:pt x="100489" y="163354"/>
                    <a:pt x="100489" y="162401"/>
                    <a:pt x="101441" y="162401"/>
                  </a:cubicBezTo>
                  <a:cubicBezTo>
                    <a:pt x="118586" y="134779"/>
                    <a:pt x="143351" y="111919"/>
                    <a:pt x="171926" y="95726"/>
                  </a:cubicBezTo>
                  <a:cubicBezTo>
                    <a:pt x="201454" y="79534"/>
                    <a:pt x="234791" y="70009"/>
                    <a:pt x="269081" y="70009"/>
                  </a:cubicBezTo>
                  <a:cubicBezTo>
                    <a:pt x="309086" y="70009"/>
                    <a:pt x="347186" y="81439"/>
                    <a:pt x="379571" y="104299"/>
                  </a:cubicBezTo>
                  <a:lnTo>
                    <a:pt x="379571" y="31909"/>
                  </a:lnTo>
                  <a:lnTo>
                    <a:pt x="374809" y="30004"/>
                  </a:lnTo>
                  <a:cubicBezTo>
                    <a:pt x="340519" y="14764"/>
                    <a:pt x="304324" y="7144"/>
                    <a:pt x="268129" y="7144"/>
                  </a:cubicBezTo>
                  <a:cubicBezTo>
                    <a:pt x="198596" y="7144"/>
                    <a:pt x="132874" y="34766"/>
                    <a:pt x="83344" y="83344"/>
                  </a:cubicBezTo>
                  <a:cubicBezTo>
                    <a:pt x="33814" y="132874"/>
                    <a:pt x="7144" y="198596"/>
                    <a:pt x="7144" y="268129"/>
                  </a:cubicBezTo>
                  <a:cubicBezTo>
                    <a:pt x="7144" y="411956"/>
                    <a:pt x="124301" y="529114"/>
                    <a:pt x="268129" y="529114"/>
                  </a:cubicBezTo>
                  <a:cubicBezTo>
                    <a:pt x="305276" y="529114"/>
                    <a:pt x="341471" y="521494"/>
                    <a:pt x="374809" y="506254"/>
                  </a:cubicBezTo>
                  <a:lnTo>
                    <a:pt x="379571" y="504349"/>
                  </a:lnTo>
                  <a:lnTo>
                    <a:pt x="379571" y="446246"/>
                  </a:lnTo>
                  <a:lnTo>
                    <a:pt x="379571" y="431959"/>
                  </a:lnTo>
                  <a:cubicBezTo>
                    <a:pt x="347186" y="453866"/>
                    <a:pt x="309086" y="466249"/>
                    <a:pt x="269081" y="466249"/>
                  </a:cubicBezTo>
                  <a:cubicBezTo>
                    <a:pt x="215741" y="464344"/>
                    <a:pt x="167164" y="445294"/>
                    <a:pt x="130969" y="410051"/>
                  </a:cubicBezTo>
                  <a:close/>
                </a:path>
              </a:pathLst>
            </a:custGeom>
            <a:grp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0638695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2394"/>
          </a:xfrm>
        </p:spPr>
        <p:txBody>
          <a:bodyPr/>
          <a:lstStyle>
            <a:lvl1pPr marL="336145" indent="-336145">
              <a:buFont typeface="Arial" panose="020B0604020202020204" pitchFamily="34" charset="0"/>
              <a:buChar char="•"/>
              <a:defRPr/>
            </a:lvl1pPr>
            <a:lvl2pPr marL="504217" indent="-280121">
              <a:buFont typeface="Courier New" panose="02070309020205020404" pitchFamily="49" charset="0"/>
              <a:buChar char="o"/>
              <a:defRPr/>
            </a:lvl2pPr>
            <a:lvl3pPr marL="728314" indent="-280121">
              <a:buFont typeface="Wingdings" panose="05000000000000000000" pitchFamily="2" charset="2"/>
              <a:buChar char="§"/>
              <a:defRPr/>
            </a:lvl3pPr>
            <a:lvl4pPr marL="952410" indent="-280121">
              <a:buFont typeface="Wingdings" panose="05000000000000000000" pitchFamily="2" charset="2"/>
              <a:buChar char="q"/>
              <a:defRPr/>
            </a:lvl4pPr>
            <a:lvl5pPr marL="1176507" indent="-280121">
              <a:buFont typeface="Wingdings" panose="05000000000000000000" pitchFamily="2" charset="2"/>
              <a:buChar char="v"/>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804151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663663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79" indent="0">
              <a:buFont typeface="Wingdings" panose="05000000000000000000" pitchFamily="2" charset="2"/>
              <a:buNone/>
              <a:defRPr sz="2353" b="0"/>
            </a:lvl2pPr>
            <a:lvl3pPr marL="442014" indent="0">
              <a:buFont typeface="Wingdings" panose="05000000000000000000" pitchFamily="2" charset="2"/>
              <a:buNone/>
              <a:tabLst/>
              <a:defRPr sz="2157" b="0"/>
            </a:lvl3pPr>
            <a:lvl4pPr marL="639675" indent="0">
              <a:buFont typeface="Wingdings" panose="05000000000000000000" pitchFamily="2" charset="2"/>
              <a:buNone/>
              <a:defRPr sz="2157" b="0"/>
            </a:lvl4pPr>
            <a:lvl5pPr marL="83733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79"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7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3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70" marR="0" lvl="0" indent="-504270" algn="l" defTabSz="914462" rtl="0" eaLnBrk="1" fontAlgn="auto" latinLnBrk="0" hangingPunct="1">
              <a:lnSpc>
                <a:spcPct val="90000"/>
              </a:lnSpc>
              <a:spcBef>
                <a:spcPts val="1200"/>
              </a:spcBef>
              <a:spcAft>
                <a:spcPts val="0"/>
              </a:spcAft>
              <a:buClr>
                <a:schemeClr val="tx1"/>
              </a:buClr>
              <a:buSzPct val="90000"/>
              <a:tabLst/>
            </a:pPr>
            <a:r>
              <a:rPr lang="en-US"/>
              <a:t>Edit Master text styles</a:t>
            </a:r>
          </a:p>
          <a:p>
            <a:pPr marL="504270" marR="0" lvl="1" indent="-504270" algn="l" defTabSz="914462" rtl="0" eaLnBrk="1" fontAlgn="auto" latinLnBrk="0" hangingPunct="1">
              <a:lnSpc>
                <a:spcPct val="90000"/>
              </a:lnSpc>
              <a:spcBef>
                <a:spcPts val="1200"/>
              </a:spcBef>
              <a:spcAft>
                <a:spcPts val="0"/>
              </a:spcAft>
              <a:buClr>
                <a:schemeClr val="tx1"/>
              </a:buClr>
              <a:buSzPct val="90000"/>
              <a:tabLst/>
            </a:pPr>
            <a:r>
              <a:rPr lang="en-US"/>
              <a:t>Second level</a:t>
            </a:r>
          </a:p>
          <a:p>
            <a:pPr marL="504270" marR="0" lvl="2" indent="-504270" algn="l" defTabSz="914462" rtl="0" eaLnBrk="1" fontAlgn="auto" latinLnBrk="0" hangingPunct="1">
              <a:lnSpc>
                <a:spcPct val="90000"/>
              </a:lnSpc>
              <a:spcBef>
                <a:spcPts val="1200"/>
              </a:spcBef>
              <a:spcAft>
                <a:spcPts val="0"/>
              </a:spcAft>
              <a:buClr>
                <a:schemeClr val="tx1"/>
              </a:buClr>
              <a:buSzPct val="90000"/>
              <a:tabLst/>
            </a:pPr>
            <a:r>
              <a:rPr lang="en-US"/>
              <a:t>Third level</a:t>
            </a:r>
          </a:p>
          <a:p>
            <a:pPr marL="504270" marR="0" lvl="3" indent="-504270" algn="l" defTabSz="914462" rtl="0" eaLnBrk="1" fontAlgn="auto" latinLnBrk="0" hangingPunct="1">
              <a:lnSpc>
                <a:spcPct val="90000"/>
              </a:lnSpc>
              <a:spcBef>
                <a:spcPts val="1200"/>
              </a:spcBef>
              <a:spcAft>
                <a:spcPts val="0"/>
              </a:spcAft>
              <a:buClr>
                <a:schemeClr val="tx1"/>
              </a:buClr>
              <a:buSzPct val="90000"/>
              <a:tabLst/>
            </a:pPr>
            <a:r>
              <a:rPr lang="en-US"/>
              <a:t>Fourth level</a:t>
            </a:r>
          </a:p>
          <a:p>
            <a:pPr marL="504270" marR="0" lvl="4" indent="-504270" algn="l" defTabSz="91446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795368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16CA0-919D-4A49-9C8A-62FDFB3A5183}" type="datetimeFigureOut">
              <a:rPr lang="en-US" dirty="0"/>
              <a:t>7/2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7E5644-1E61-4311-A31E-84CB9C7AA8A9}" type="slidenum">
              <a:rPr lang="en-US" dirty="0"/>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5702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33" indent="-227233">
              <a:spcBef>
                <a:spcPts val="1200"/>
              </a:spcBef>
              <a:buClr>
                <a:schemeClr val="tx1"/>
              </a:buClr>
              <a:buFont typeface="Wingdings" panose="05000000000000000000" pitchFamily="2" charset="2"/>
              <a:buChar char=""/>
              <a:defRPr sz="2942" b="0">
                <a:latin typeface="+mn-lt"/>
              </a:defRPr>
            </a:lvl1pPr>
            <a:lvl2pPr marL="418669" indent="-168090">
              <a:buFont typeface="Wingdings" panose="05000000000000000000" pitchFamily="2" charset="2"/>
              <a:buChar char=""/>
              <a:defRPr sz="2353" b="0"/>
            </a:lvl2pPr>
            <a:lvl3pPr marL="627225" indent="-185211">
              <a:buFont typeface="Wingdings" panose="05000000000000000000" pitchFamily="2" charset="2"/>
              <a:buChar char=""/>
              <a:tabLst/>
              <a:defRPr sz="2157" b="0"/>
            </a:lvl3pPr>
            <a:lvl4pPr marL="812434" indent="-172759">
              <a:buFont typeface="Wingdings" panose="05000000000000000000" pitchFamily="2" charset="2"/>
              <a:buChar char=""/>
              <a:defRPr sz="2157" b="0"/>
            </a:lvl4pPr>
            <a:lvl5pPr marL="1003871" indent="-166534">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281706" indent="-281706">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59" indent="-336180">
              <a:defRPr lang="en-US" sz="2353" b="0" kern="1200" spc="0" baseline="0" dirty="0">
                <a:gradFill>
                  <a:gsLst>
                    <a:gs pos="1250">
                      <a:schemeClr val="tx1"/>
                    </a:gs>
                    <a:gs pos="100000">
                      <a:schemeClr val="tx1"/>
                    </a:gs>
                  </a:gsLst>
                  <a:lin ang="5400000" scaled="0"/>
                </a:gradFill>
                <a:latin typeface="+mn-lt"/>
                <a:ea typeface="+mn-ea"/>
                <a:cs typeface="+mn-cs"/>
              </a:defRPr>
            </a:lvl2pPr>
            <a:lvl3pPr marL="778194" indent="-3361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54" indent="-336180">
              <a:defRPr lang="en-US" sz="2157" b="0" kern="1200" spc="0" baseline="0" dirty="0">
                <a:gradFill>
                  <a:gsLst>
                    <a:gs pos="1250">
                      <a:schemeClr val="tx1"/>
                    </a:gs>
                    <a:gs pos="100000">
                      <a:schemeClr val="tx1"/>
                    </a:gs>
                  </a:gsLst>
                  <a:lin ang="5400000" scaled="0"/>
                </a:gradFill>
                <a:latin typeface="+mn-lt"/>
                <a:ea typeface="+mn-ea"/>
                <a:cs typeface="+mn-cs"/>
              </a:defRPr>
            </a:lvl4pPr>
            <a:lvl5pPr marL="1173516" indent="-3361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33" marR="0" lvl="0"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33" marR="0" lvl="1"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33" marR="0" lvl="2"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33" marR="0" lvl="3"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33" marR="0" lvl="4"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4363178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4206327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5295007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63927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pic>
        <p:nvPicPr>
          <p:cNvPr id="3" name="Picture 2">
            <a:extLst>
              <a:ext uri="{FF2B5EF4-FFF2-40B4-BE49-F238E27FC236}">
                <a16:creationId xmlns:a16="http://schemas.microsoft.com/office/drawing/2014/main" id="{251711FF-E44A-4E3A-870A-640719FC5058}"/>
              </a:ext>
            </a:extLst>
          </p:cNvPr>
          <p:cNvPicPr>
            <a:picLocks noChangeAspect="1"/>
          </p:cNvPicPr>
          <p:nvPr userDrawn="1"/>
        </p:nvPicPr>
        <p:blipFill>
          <a:blip r:embed="rId2"/>
          <a:stretch>
            <a:fillRect/>
          </a:stretch>
        </p:blipFill>
        <p:spPr>
          <a:xfrm>
            <a:off x="5334973" y="0"/>
            <a:ext cx="6857027" cy="6858000"/>
          </a:xfrm>
          <a:prstGeom prst="rect">
            <a:avLst/>
          </a:prstGeom>
        </p:spPr>
      </p:pic>
    </p:spTree>
    <p:extLst>
      <p:ext uri="{BB962C8B-B14F-4D97-AF65-F5344CB8AC3E}">
        <p14:creationId xmlns:p14="http://schemas.microsoft.com/office/powerpoint/2010/main" val="289762500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904955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7" cy="1158793"/>
          </a:xfrm>
          <a:noFill/>
        </p:spPr>
        <p:txBody>
          <a:bodyPr tIns="91440" bIns="91440" anchor="t" anchorCtr="0">
            <a:spAutoFit/>
          </a:bodyPr>
          <a:lstStyle>
            <a:lvl1pPr>
              <a:defRPr sz="7059"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3" cy="724246"/>
          </a:xfrm>
          <a:noFill/>
        </p:spPr>
        <p:txBody>
          <a:bodyPr lIns="182880" tIns="146304" rIns="182880" bIns="146304">
            <a:sp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54077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30144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Demo_embedde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81815" y="266700"/>
            <a:ext cx="8940947" cy="6289723"/>
          </a:xfrm>
          <a:prstGeom prst="rect">
            <a:avLst/>
          </a:prstGeom>
        </p:spPr>
      </p:pic>
      <p:sp>
        <p:nvSpPr>
          <p:cNvPr id="13" name="Media Placeholder 8"/>
          <p:cNvSpPr>
            <a:spLocks noGrp="1"/>
          </p:cNvSpPr>
          <p:nvPr>
            <p:ph type="media" sz="quarter" idx="11" hasCustomPrompt="1"/>
          </p:nvPr>
        </p:nvSpPr>
        <p:spPr>
          <a:xfrm>
            <a:off x="3406725" y="739344"/>
            <a:ext cx="8142525" cy="5379312"/>
          </a:xfrm>
        </p:spPr>
        <p:txBody>
          <a:bodyPr>
            <a:noAutofit/>
          </a:bodyPr>
          <a:lstStyle>
            <a:lvl1pPr marL="0" indent="0">
              <a:buNone/>
              <a:defRPr baseline="0">
                <a:solidFill>
                  <a:schemeClr val="bg1"/>
                </a:solidFill>
              </a:defRPr>
            </a:lvl1pPr>
          </a:lstStyle>
          <a:p>
            <a:r>
              <a:rPr lang="en-US"/>
              <a:t>Click to insert demo video</a:t>
            </a:r>
          </a:p>
        </p:txBody>
      </p:sp>
      <p:sp>
        <p:nvSpPr>
          <p:cNvPr id="2" name="Title 1"/>
          <p:cNvSpPr>
            <a:spLocks noGrp="1"/>
          </p:cNvSpPr>
          <p:nvPr>
            <p:ph type="title"/>
          </p:nvPr>
        </p:nvSpPr>
        <p:spPr>
          <a:xfrm>
            <a:off x="228601" y="266700"/>
            <a:ext cx="2469118" cy="2612424"/>
          </a:xfrm>
        </p:spPr>
        <p:txBody>
          <a:bodyPr anchor="t"/>
          <a:lstStyle/>
          <a:p>
            <a:r>
              <a:rPr lang="en-US"/>
              <a:t>Click to edit Master title style</a:t>
            </a:r>
          </a:p>
        </p:txBody>
      </p:sp>
    </p:spTree>
    <p:extLst>
      <p:ext uri="{BB962C8B-B14F-4D97-AF65-F5344CB8AC3E}">
        <p14:creationId xmlns:p14="http://schemas.microsoft.com/office/powerpoint/2010/main" val="380313475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839200" y="470069"/>
            <a:ext cx="2904588" cy="2043302"/>
          </a:xfrm>
          <a:prstGeom prst="rect">
            <a:avLst/>
          </a:prstGeom>
        </p:spPr>
      </p:pic>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839200" y="2531713"/>
            <a:ext cx="2904588" cy="2043302"/>
          </a:xfrm>
          <a:prstGeom prst="rect">
            <a:avLst/>
          </a:prstGeom>
        </p:spPr>
      </p:pic>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839200" y="4625806"/>
            <a:ext cx="2904588" cy="2043302"/>
          </a:xfrm>
          <a:prstGeom prst="rect">
            <a:avLst/>
          </a:prstGeom>
        </p:spPr>
      </p:pic>
      <p:pic>
        <p:nvPicPr>
          <p:cNvPr id="18" name="Picture 17"/>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2172154"/>
            <a:ext cx="7969038" cy="4685848"/>
          </a:xfrm>
          <a:prstGeom prst="rect">
            <a:avLst/>
          </a:prstGeom>
        </p:spPr>
      </p:pic>
      <p:sp>
        <p:nvSpPr>
          <p:cNvPr id="2" name="Title 1"/>
          <p:cNvSpPr>
            <a:spLocks noGrp="1"/>
          </p:cNvSpPr>
          <p:nvPr>
            <p:ph type="title"/>
          </p:nvPr>
        </p:nvSpPr>
        <p:spPr>
          <a:xfrm>
            <a:off x="228601" y="266701"/>
            <a:ext cx="8610599" cy="1028700"/>
          </a:xfrm>
        </p:spPr>
        <p:txBody>
          <a:bodyPr anchor="t"/>
          <a:lstStyle/>
          <a:p>
            <a:r>
              <a:rPr lang="en-US"/>
              <a:t>Click to edit Master title style</a:t>
            </a:r>
          </a:p>
        </p:txBody>
      </p:sp>
      <p:sp>
        <p:nvSpPr>
          <p:cNvPr id="10" name="Picture Placeholder 9"/>
          <p:cNvSpPr>
            <a:spLocks noGrp="1"/>
          </p:cNvSpPr>
          <p:nvPr>
            <p:ph type="pic" sz="quarter" idx="10" hasCustomPrompt="1"/>
          </p:nvPr>
        </p:nvSpPr>
        <p:spPr>
          <a:xfrm>
            <a:off x="1" y="2575105"/>
            <a:ext cx="7604195" cy="4282896"/>
          </a:xfrm>
        </p:spPr>
        <p:txBody>
          <a:bodyPr>
            <a:noAutofit/>
          </a:bodyPr>
          <a:lstStyle>
            <a:lvl1pPr marL="0" indent="0">
              <a:buNone/>
              <a:defRPr>
                <a:solidFill>
                  <a:schemeClr val="bg1"/>
                </a:solidFill>
              </a:defRPr>
            </a:lvl1pPr>
          </a:lstStyle>
          <a:p>
            <a:r>
              <a:rPr lang="en-US"/>
              <a:t>Click to add screenshot</a:t>
            </a:r>
          </a:p>
        </p:txBody>
      </p:sp>
      <p:sp>
        <p:nvSpPr>
          <p:cNvPr id="12" name="Picture Placeholder 11"/>
          <p:cNvSpPr>
            <a:spLocks noGrp="1"/>
          </p:cNvSpPr>
          <p:nvPr>
            <p:ph type="pic" sz="quarter" idx="11" hasCustomPrompt="1"/>
          </p:nvPr>
        </p:nvSpPr>
        <p:spPr>
          <a:xfrm>
            <a:off x="8960302" y="589918"/>
            <a:ext cx="2662381" cy="1793104"/>
          </a:xfrm>
        </p:spPr>
        <p:txBody>
          <a:bodyPr>
            <a:noAutofit/>
          </a:bodyPr>
          <a:lstStyle>
            <a:lvl1pPr marL="0" indent="0">
              <a:buNone/>
              <a:defRPr sz="1961">
                <a:solidFill>
                  <a:schemeClr val="bg1"/>
                </a:solidFill>
              </a:defRPr>
            </a:lvl1pPr>
          </a:lstStyle>
          <a:p>
            <a:r>
              <a:rPr lang="en-US"/>
              <a:t>Click to add screenshot</a:t>
            </a:r>
          </a:p>
        </p:txBody>
      </p:sp>
      <p:sp>
        <p:nvSpPr>
          <p:cNvPr id="14" name="Picture Placeholder 13"/>
          <p:cNvSpPr>
            <a:spLocks noGrp="1"/>
          </p:cNvSpPr>
          <p:nvPr>
            <p:ph type="pic" sz="quarter" idx="12" hasCustomPrompt="1"/>
          </p:nvPr>
        </p:nvSpPr>
        <p:spPr>
          <a:xfrm>
            <a:off x="8961518" y="2661392"/>
            <a:ext cx="2659952" cy="1793104"/>
          </a:xfrm>
        </p:spPr>
        <p:txBody>
          <a:bodyPr>
            <a:noAutofit/>
          </a:bodyPr>
          <a:lstStyle>
            <a:lvl1pPr marL="0" indent="0">
              <a:buNone/>
              <a:defRPr sz="1961" baseline="0">
                <a:solidFill>
                  <a:schemeClr val="bg1"/>
                </a:solidFill>
              </a:defRPr>
            </a:lvl1pPr>
          </a:lstStyle>
          <a:p>
            <a:r>
              <a:rPr lang="en-US"/>
              <a:t>Click to add screenshot</a:t>
            </a:r>
          </a:p>
        </p:txBody>
      </p:sp>
      <p:sp>
        <p:nvSpPr>
          <p:cNvPr id="16" name="Picture Placeholder 15"/>
          <p:cNvSpPr>
            <a:spLocks noGrp="1"/>
          </p:cNvSpPr>
          <p:nvPr>
            <p:ph type="pic" sz="quarter" idx="13" hasCustomPrompt="1"/>
          </p:nvPr>
        </p:nvSpPr>
        <p:spPr>
          <a:xfrm>
            <a:off x="8960302" y="4773828"/>
            <a:ext cx="2662381" cy="1793105"/>
          </a:xfrm>
        </p:spPr>
        <p:txBody>
          <a:bodyPr>
            <a:noAutofit/>
          </a:bodyPr>
          <a:lstStyle>
            <a:lvl1pPr marL="0" indent="0">
              <a:buNone/>
              <a:defRPr sz="1961">
                <a:solidFill>
                  <a:schemeClr val="bg1"/>
                </a:solidFill>
              </a:defRPr>
            </a:lvl1pPr>
          </a:lstStyle>
          <a:p>
            <a:r>
              <a:rPr lang="en-US"/>
              <a:t>Click to add screenshot</a:t>
            </a:r>
          </a:p>
        </p:txBody>
      </p:sp>
    </p:spTree>
    <p:extLst>
      <p:ext uri="{BB962C8B-B14F-4D97-AF65-F5344CB8AC3E}">
        <p14:creationId xmlns:p14="http://schemas.microsoft.com/office/powerpoint/2010/main" val="15276782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image" Target="../media/image2.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theme" Target="../theme/theme3.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5.xml"/><Relationship Id="rId21" Type="http://schemas.openxmlformats.org/officeDocument/2006/relationships/slideLayout" Target="../slideLayouts/slideLayout60.xml"/><Relationship Id="rId42" Type="http://schemas.openxmlformats.org/officeDocument/2006/relationships/slideLayout" Target="../slideLayouts/slideLayout81.xml"/><Relationship Id="rId47" Type="http://schemas.openxmlformats.org/officeDocument/2006/relationships/slideLayout" Target="../slideLayouts/slideLayout86.xml"/><Relationship Id="rId63" Type="http://schemas.openxmlformats.org/officeDocument/2006/relationships/slideLayout" Target="../slideLayouts/slideLayout102.xml"/><Relationship Id="rId68" Type="http://schemas.openxmlformats.org/officeDocument/2006/relationships/slideLayout" Target="../slideLayouts/slideLayout107.xml"/><Relationship Id="rId16" Type="http://schemas.openxmlformats.org/officeDocument/2006/relationships/slideLayout" Target="../slideLayouts/slideLayout5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slideLayout" Target="../slideLayouts/slideLayout79.xml"/><Relationship Id="rId45" Type="http://schemas.openxmlformats.org/officeDocument/2006/relationships/slideLayout" Target="../slideLayouts/slideLayout84.xml"/><Relationship Id="rId53" Type="http://schemas.openxmlformats.org/officeDocument/2006/relationships/slideLayout" Target="../slideLayouts/slideLayout92.xml"/><Relationship Id="rId58" Type="http://schemas.openxmlformats.org/officeDocument/2006/relationships/slideLayout" Target="../slideLayouts/slideLayout97.xml"/><Relationship Id="rId66" Type="http://schemas.openxmlformats.org/officeDocument/2006/relationships/slideLayout" Target="../slideLayouts/slideLayout105.xml"/><Relationship Id="rId74" Type="http://schemas.openxmlformats.org/officeDocument/2006/relationships/slideLayout" Target="../slideLayouts/slideLayout113.xml"/><Relationship Id="rId5" Type="http://schemas.openxmlformats.org/officeDocument/2006/relationships/slideLayout" Target="../slideLayouts/slideLayout44.xml"/><Relationship Id="rId61" Type="http://schemas.openxmlformats.org/officeDocument/2006/relationships/slideLayout" Target="../slideLayouts/slideLayout100.xml"/><Relationship Id="rId19" Type="http://schemas.openxmlformats.org/officeDocument/2006/relationships/slideLayout" Target="../slideLayouts/slideLayout5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slideLayout" Target="../slideLayouts/slideLayout82.xml"/><Relationship Id="rId48" Type="http://schemas.openxmlformats.org/officeDocument/2006/relationships/slideLayout" Target="../slideLayouts/slideLayout87.xml"/><Relationship Id="rId56" Type="http://schemas.openxmlformats.org/officeDocument/2006/relationships/slideLayout" Target="../slideLayouts/slideLayout95.xml"/><Relationship Id="rId64" Type="http://schemas.openxmlformats.org/officeDocument/2006/relationships/slideLayout" Target="../slideLayouts/slideLayout103.xml"/><Relationship Id="rId69" Type="http://schemas.openxmlformats.org/officeDocument/2006/relationships/slideLayout" Target="../slideLayouts/slideLayout108.xml"/><Relationship Id="rId77" Type="http://schemas.openxmlformats.org/officeDocument/2006/relationships/image" Target="../media/image14.emf"/><Relationship Id="rId8" Type="http://schemas.openxmlformats.org/officeDocument/2006/relationships/slideLayout" Target="../slideLayouts/slideLayout47.xml"/><Relationship Id="rId51" Type="http://schemas.openxmlformats.org/officeDocument/2006/relationships/slideLayout" Target="../slideLayouts/slideLayout90.xml"/><Relationship Id="rId72" Type="http://schemas.openxmlformats.org/officeDocument/2006/relationships/slideLayout" Target="../slideLayouts/slideLayout111.xml"/><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slideLayout" Target="../slideLayouts/slideLayout85.xml"/><Relationship Id="rId59" Type="http://schemas.openxmlformats.org/officeDocument/2006/relationships/slideLayout" Target="../slideLayouts/slideLayout98.xml"/><Relationship Id="rId67" Type="http://schemas.openxmlformats.org/officeDocument/2006/relationships/slideLayout" Target="../slideLayouts/slideLayout106.xml"/><Relationship Id="rId20" Type="http://schemas.openxmlformats.org/officeDocument/2006/relationships/slideLayout" Target="../slideLayouts/slideLayout59.xml"/><Relationship Id="rId41" Type="http://schemas.openxmlformats.org/officeDocument/2006/relationships/slideLayout" Target="../slideLayouts/slideLayout80.xml"/><Relationship Id="rId54" Type="http://schemas.openxmlformats.org/officeDocument/2006/relationships/slideLayout" Target="../slideLayouts/slideLayout93.xml"/><Relationship Id="rId62" Type="http://schemas.openxmlformats.org/officeDocument/2006/relationships/slideLayout" Target="../slideLayouts/slideLayout101.xml"/><Relationship Id="rId70" Type="http://schemas.openxmlformats.org/officeDocument/2006/relationships/slideLayout" Target="../slideLayouts/slideLayout109.xml"/><Relationship Id="rId75" Type="http://schemas.openxmlformats.org/officeDocument/2006/relationships/slideLayout" Target="../slideLayouts/slideLayout114.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49" Type="http://schemas.openxmlformats.org/officeDocument/2006/relationships/slideLayout" Target="../slideLayouts/slideLayout88.xml"/><Relationship Id="rId57" Type="http://schemas.openxmlformats.org/officeDocument/2006/relationships/slideLayout" Target="../slideLayouts/slideLayout96.xml"/><Relationship Id="rId10" Type="http://schemas.openxmlformats.org/officeDocument/2006/relationships/slideLayout" Target="../slideLayouts/slideLayout49.xml"/><Relationship Id="rId31" Type="http://schemas.openxmlformats.org/officeDocument/2006/relationships/slideLayout" Target="../slideLayouts/slideLayout70.xml"/><Relationship Id="rId44" Type="http://schemas.openxmlformats.org/officeDocument/2006/relationships/slideLayout" Target="../slideLayouts/slideLayout83.xml"/><Relationship Id="rId52" Type="http://schemas.openxmlformats.org/officeDocument/2006/relationships/slideLayout" Target="../slideLayouts/slideLayout91.xml"/><Relationship Id="rId60" Type="http://schemas.openxmlformats.org/officeDocument/2006/relationships/slideLayout" Target="../slideLayouts/slideLayout99.xml"/><Relationship Id="rId65" Type="http://schemas.openxmlformats.org/officeDocument/2006/relationships/slideLayout" Target="../slideLayouts/slideLayout104.xml"/><Relationship Id="rId73" Type="http://schemas.openxmlformats.org/officeDocument/2006/relationships/slideLayout" Target="../slideLayouts/slideLayout112.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9" Type="http://schemas.openxmlformats.org/officeDocument/2006/relationships/slideLayout" Target="../slideLayouts/slideLayout78.xml"/><Relationship Id="rId34" Type="http://schemas.openxmlformats.org/officeDocument/2006/relationships/slideLayout" Target="../slideLayouts/slideLayout73.xml"/><Relationship Id="rId50" Type="http://schemas.openxmlformats.org/officeDocument/2006/relationships/slideLayout" Target="../slideLayouts/slideLayout89.xml"/><Relationship Id="rId55" Type="http://schemas.openxmlformats.org/officeDocument/2006/relationships/slideLayout" Target="../slideLayouts/slideLayout94.xml"/><Relationship Id="rId76" Type="http://schemas.openxmlformats.org/officeDocument/2006/relationships/theme" Target="../theme/theme4.xml"/><Relationship Id="rId7" Type="http://schemas.openxmlformats.org/officeDocument/2006/relationships/slideLayout" Target="../slideLayouts/slideLayout46.xml"/><Relationship Id="rId71" Type="http://schemas.openxmlformats.org/officeDocument/2006/relationships/slideLayout" Target="../slideLayouts/slideLayout110.xml"/><Relationship Id="rId2" Type="http://schemas.openxmlformats.org/officeDocument/2006/relationships/slideLayout" Target="../slideLayouts/slideLayout41.xml"/><Relationship Id="rId29"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2.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heme" Target="../theme/theme5.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90298CD5-6C1E-4009-B41F-6DF62E31D3BE}" type="datetimeFigureOut">
              <a:rPr lang="en-US" dirty="0"/>
              <a:pPr/>
              <a:t>7/25/2022</a:t>
            </a:fld>
            <a:endParaRPr lang="en-US" dirty="0"/>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dirty="0"/>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4FAB73BC-B049-4115-A692-8D63A059BFB8}" type="slidenum">
              <a:rPr lang="en-US" dirty="0"/>
              <a:pPr/>
              <a:t>‹#›</a:t>
            </a:fld>
            <a:endParaRPr lang="en-US" dirty="0"/>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74008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60" r:id="rId9"/>
    <p:sldLayoutId id="2147483658" r:id="rId10"/>
    <p:sldLayoutId id="2147483659" r:id="rId11"/>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52CD92-9D15-43B4-8516-073FCDAC90D4}" type="datetimeFigureOut">
              <a:rPr lang="en-US" smtClean="0"/>
              <a:t>7/25/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5E1560-7126-406C-A531-3A398E8D0EEA}" type="slidenum">
              <a:rPr lang="en-US" smtClean="0"/>
              <a:t>‹#›</a:t>
            </a:fld>
            <a:endParaRPr lang="en-US"/>
          </a:p>
        </p:txBody>
      </p:sp>
    </p:spTree>
    <p:extLst>
      <p:ext uri="{BB962C8B-B14F-4D97-AF65-F5344CB8AC3E}">
        <p14:creationId xmlns:p14="http://schemas.microsoft.com/office/powerpoint/2010/main" val="3184122265"/>
      </p:ext>
    </p:extLst>
  </p:cSld>
  <p:clrMap bg1="lt1" tx1="dk1" bg2="lt2" tx2="dk2" accent1="accent1" accent2="accent2" accent3="accent3" accent4="accent4" accent5="accent5" accent6="accent6" hlink="hlink" folHlink="folHlink"/>
  <p:sldLayoutIdLst>
    <p:sldLayoutId id="214748366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Footer Placeholder 3">
            <a:extLst>
              <a:ext uri="{FF2B5EF4-FFF2-40B4-BE49-F238E27FC236}">
                <a16:creationId xmlns:a16="http://schemas.microsoft.com/office/drawing/2014/main" id="{6A7399CD-8850-4D85-91D5-451FBA80134F}"/>
              </a:ext>
            </a:extLst>
          </p:cNvPr>
          <p:cNvSpPr>
            <a:spLocks noGrp="1"/>
          </p:cNvSpPr>
          <p:nvPr>
            <p:ph type="ftr" sz="quarter" idx="3"/>
          </p:nvPr>
        </p:nvSpPr>
        <p:spPr>
          <a:xfrm>
            <a:off x="498475" y="6565391"/>
            <a:ext cx="2451100" cy="246221"/>
          </a:xfrm>
          <a:prstGeom prst="rect">
            <a:avLst/>
          </a:prstGeom>
        </p:spPr>
        <p:txBody>
          <a:bodyPr>
            <a:spAutoFit/>
          </a:bodyPr>
          <a:lstStyle>
            <a:lvl1pPr>
              <a:defRPr sz="1000">
                <a:solidFill>
                  <a:schemeClr val="bg1">
                    <a:lumMod val="50000"/>
                  </a:schemeClr>
                </a:solidFill>
              </a:defRPr>
            </a:lvl1pPr>
          </a:lstStyle>
          <a:p>
            <a:endParaRPr lang="en-IN"/>
          </a:p>
        </p:txBody>
      </p:sp>
      <p:sp>
        <p:nvSpPr>
          <p:cNvPr id="34" name="Slide Number Placeholder 33">
            <a:extLst>
              <a:ext uri="{FF2B5EF4-FFF2-40B4-BE49-F238E27FC236}">
                <a16:creationId xmlns:a16="http://schemas.microsoft.com/office/drawing/2014/main" id="{5412D678-0797-4C8A-B228-D11DF1C9DA43}"/>
              </a:ext>
            </a:extLst>
          </p:cNvPr>
          <p:cNvSpPr>
            <a:spLocks noGrp="1"/>
          </p:cNvSpPr>
          <p:nvPr>
            <p:ph type="sldNum" sz="quarter" idx="4"/>
          </p:nvPr>
        </p:nvSpPr>
        <p:spPr>
          <a:xfrm>
            <a:off x="11671935" y="6565391"/>
            <a:ext cx="380999" cy="246221"/>
          </a:xfrm>
          <a:prstGeom prst="rect">
            <a:avLst/>
          </a:prstGeom>
        </p:spPr>
        <p:txBody>
          <a:bodyPr wrap="square">
            <a:spAutoFit/>
          </a:bodyPr>
          <a:lstStyle>
            <a:lvl1pPr>
              <a:defRPr lang="en-IN" sz="1000" smtClean="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3337278484"/>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77"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40409457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728" r:id="rId36"/>
    <p:sldLayoutId id="2147483729" r:id="rId37"/>
    <p:sldLayoutId id="2147483730" r:id="rId38"/>
    <p:sldLayoutId id="2147483731" r:id="rId39"/>
    <p:sldLayoutId id="2147483732" r:id="rId40"/>
    <p:sldLayoutId id="2147483733" r:id="rId41"/>
    <p:sldLayoutId id="2147483734" r:id="rId42"/>
    <p:sldLayoutId id="2147483735" r:id="rId43"/>
    <p:sldLayoutId id="2147483736" r:id="rId44"/>
    <p:sldLayoutId id="2147483737" r:id="rId45"/>
    <p:sldLayoutId id="2147483738" r:id="rId46"/>
    <p:sldLayoutId id="2147483739" r:id="rId47"/>
    <p:sldLayoutId id="2147483740" r:id="rId48"/>
    <p:sldLayoutId id="2147483741" r:id="rId49"/>
    <p:sldLayoutId id="2147483742" r:id="rId50"/>
    <p:sldLayoutId id="2147483743" r:id="rId51"/>
    <p:sldLayoutId id="2147483744" r:id="rId52"/>
    <p:sldLayoutId id="2147483745" r:id="rId53"/>
    <p:sldLayoutId id="2147483746" r:id="rId54"/>
    <p:sldLayoutId id="2147483747" r:id="rId55"/>
    <p:sldLayoutId id="2147483748" r:id="rId56"/>
    <p:sldLayoutId id="2147483749" r:id="rId57"/>
    <p:sldLayoutId id="2147483750" r:id="rId58"/>
    <p:sldLayoutId id="2147483751" r:id="rId59"/>
    <p:sldLayoutId id="2147483752" r:id="rId60"/>
    <p:sldLayoutId id="2147483753" r:id="rId61"/>
    <p:sldLayoutId id="2147483754" r:id="rId62"/>
    <p:sldLayoutId id="2147483755" r:id="rId63"/>
    <p:sldLayoutId id="2147483756" r:id="rId64"/>
    <p:sldLayoutId id="2147483757" r:id="rId65"/>
    <p:sldLayoutId id="2147483758" r:id="rId66"/>
    <p:sldLayoutId id="2147483759" r:id="rId67"/>
    <p:sldLayoutId id="2147483760" r:id="rId68"/>
    <p:sldLayoutId id="2147483761" r:id="rId69"/>
    <p:sldLayoutId id="2147483762" r:id="rId70"/>
    <p:sldLayoutId id="2147483763" r:id="rId71"/>
    <p:sldLayoutId id="2147483764" r:id="rId72"/>
    <p:sldLayoutId id="2147483765" r:id="rId73"/>
    <p:sldLayoutId id="2147483766" r:id="rId74"/>
    <p:sldLayoutId id="2147483767" r:id="rId75"/>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3917">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E163C0-0434-495D-8D2E-A8D634B7D63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142543A-F3FD-4BA0-BC51-201D8F03CD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64359CA-F05B-460E-9216-B5D658F2C3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1E79AA3-99E6-40AD-87E3-C06A26743B87}" type="datetimeFigureOut">
              <a:rPr lang="en-GB" smtClean="0"/>
              <a:t>25/07/2022</a:t>
            </a:fld>
            <a:endParaRPr lang="en-GB"/>
          </a:p>
        </p:txBody>
      </p:sp>
      <p:sp>
        <p:nvSpPr>
          <p:cNvPr id="5" name="Footer Placeholder 4">
            <a:extLst>
              <a:ext uri="{FF2B5EF4-FFF2-40B4-BE49-F238E27FC236}">
                <a16:creationId xmlns:a16="http://schemas.microsoft.com/office/drawing/2014/main" id="{DF1A9123-4924-4D86-BE72-A369E2F7A2E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E7D7917-D50F-4250-8321-E0CD59EA141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C9F074-17E5-44A6-9A1E-401CBC41AB4B}" type="slidenum">
              <a:rPr lang="en-GB" smtClean="0"/>
              <a:t>‹#›</a:t>
            </a:fld>
            <a:endParaRPr lang="en-GB"/>
          </a:p>
        </p:txBody>
      </p:sp>
    </p:spTree>
    <p:extLst>
      <p:ext uri="{BB962C8B-B14F-4D97-AF65-F5344CB8AC3E}">
        <p14:creationId xmlns:p14="http://schemas.microsoft.com/office/powerpoint/2010/main" val="269299839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flickr.com/photos/danielfoster/14212426230/" TargetMode="External"/><Relationship Id="rId3" Type="http://schemas.openxmlformats.org/officeDocument/2006/relationships/image" Target="../media/image38.jpg"/><Relationship Id="rId7" Type="http://schemas.openxmlformats.org/officeDocument/2006/relationships/image" Target="../media/image40.jpg"/><Relationship Id="rId2" Type="http://schemas.openxmlformats.org/officeDocument/2006/relationships/notesSlide" Target="../notesSlides/notesSlide1.xml"/><Relationship Id="rId1" Type="http://schemas.openxmlformats.org/officeDocument/2006/relationships/slideLayout" Target="../slideLayouts/slideLayout121.xml"/><Relationship Id="rId6" Type="http://schemas.openxmlformats.org/officeDocument/2006/relationships/hyperlink" Target="https://www.flickr.com/photos/avlxyz/25813258364/" TargetMode="External"/><Relationship Id="rId5" Type="http://schemas.openxmlformats.org/officeDocument/2006/relationships/image" Target="../media/image39.jpg"/><Relationship Id="rId4" Type="http://schemas.openxmlformats.org/officeDocument/2006/relationships/hyperlink" Target="https://satisfyingretirement.blogspot.com/2016/11/retire-with-less-than-one-million.html"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xml"/><Relationship Id="rId7" Type="http://schemas.openxmlformats.org/officeDocument/2006/relationships/image" Target="../media/image43.svg"/><Relationship Id="rId2" Type="http://schemas.openxmlformats.org/officeDocument/2006/relationships/slideLayout" Target="../slideLayouts/slideLayout88.xml"/><Relationship Id="rId1" Type="http://schemas.openxmlformats.org/officeDocument/2006/relationships/tags" Target="../tags/tag4.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emf"/><Relationship Id="rId10" Type="http://schemas.openxmlformats.org/officeDocument/2006/relationships/image" Target="../media/image46.png"/><Relationship Id="rId4" Type="http://schemas.openxmlformats.org/officeDocument/2006/relationships/oleObject" Target="../embeddings/oleObject4.bin"/><Relationship Id="rId9" Type="http://schemas.openxmlformats.org/officeDocument/2006/relationships/image" Target="../media/image45.svg"/></Relationships>
</file>

<file path=ppt/slides/_rels/slide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4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9ED130E-FD21-4F2E-B879-1E96C318D3FC}"/>
              </a:ext>
            </a:extLst>
          </p:cNvPr>
          <p:cNvSpPr txBox="1"/>
          <p:nvPr/>
        </p:nvSpPr>
        <p:spPr>
          <a:xfrm>
            <a:off x="276975" y="283740"/>
            <a:ext cx="10094976" cy="584775"/>
          </a:xfrm>
          <a:prstGeom prst="rect">
            <a:avLst/>
          </a:prstGeom>
          <a:noFill/>
        </p:spPr>
        <p:txBody>
          <a:bodyPr wrap="square" rtlCol="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sz="3200" dirty="0">
                <a:latin typeface="Segoe UI Semibold" panose="020B0702040204020203" pitchFamily="34" charset="0"/>
                <a:cs typeface="Segoe UI Semibold" panose="020B0702040204020203" pitchFamily="34" charset="0"/>
              </a:rPr>
              <a:t>Retail Banking</a:t>
            </a:r>
            <a:endParaRPr kumimoji="0" lang="en-US" sz="32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endParaRPr>
          </a:p>
        </p:txBody>
      </p:sp>
      <p:sp>
        <p:nvSpPr>
          <p:cNvPr id="3" name="TextBox 2">
            <a:extLst>
              <a:ext uri="{FF2B5EF4-FFF2-40B4-BE49-F238E27FC236}">
                <a16:creationId xmlns:a16="http://schemas.microsoft.com/office/drawing/2014/main" id="{29F2094E-91AC-4367-BAB3-28253A6DD708}"/>
              </a:ext>
            </a:extLst>
          </p:cNvPr>
          <p:cNvSpPr txBox="1"/>
          <p:nvPr/>
        </p:nvSpPr>
        <p:spPr>
          <a:xfrm>
            <a:off x="935721" y="1894122"/>
            <a:ext cx="3972299" cy="3724096"/>
          </a:xfrm>
          <a:prstGeom prst="rect">
            <a:avLst/>
          </a:prstGeom>
          <a:noFill/>
        </p:spPr>
        <p:txBody>
          <a:bodyPr wrap="square" rtlCol="0">
            <a:sp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Over $110 Trillion assets under management in Retail Banking worldwide</a:t>
            </a:r>
          </a:p>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rPr>
              <a:t>Celent</a:t>
            </a: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Research</a:t>
            </a:r>
          </a:p>
        </p:txBody>
      </p:sp>
      <p:pic>
        <p:nvPicPr>
          <p:cNvPr id="1026" name="Picture 2">
            <a:extLst>
              <a:ext uri="{FF2B5EF4-FFF2-40B4-BE49-F238E27FC236}">
                <a16:creationId xmlns:a16="http://schemas.microsoft.com/office/drawing/2014/main" id="{4B9E245C-A5A7-4749-A116-64ACBD1C345B}"/>
              </a:ext>
            </a:extLst>
          </p:cNvPr>
          <p:cNvPicPr>
            <a:picLocks noChangeAspect="1" noChangeArrowheads="1"/>
          </p:cNvPicPr>
          <p:nvPr/>
        </p:nvPicPr>
        <p:blipFill>
          <a:blip r:embed="rId3">
            <a:extLst>
              <a:ext uri="{837473B0-CC2E-450A-ABE3-18F120FF3D39}">
                <a1611:picAttrSrcUrl xmlns:a1611="http://schemas.microsoft.com/office/drawing/2016/11/main" r:id="rId4"/>
              </a:ext>
            </a:extLst>
          </a:blip>
          <a:srcRect/>
          <a:stretch/>
        </p:blipFill>
        <p:spPr bwMode="auto">
          <a:xfrm>
            <a:off x="5461349" y="185209"/>
            <a:ext cx="3449056" cy="2617123"/>
          </a:xfrm>
          <a:prstGeom prst="rect">
            <a:avLst/>
          </a:prstGeom>
          <a:noFill/>
        </p:spPr>
      </p:pic>
      <p:pic>
        <p:nvPicPr>
          <p:cNvPr id="9" name="Picture 8" descr="A hand holding a cell phone&#10;&#10;Description automatically generated with medium confidence">
            <a:extLst>
              <a:ext uri="{FF2B5EF4-FFF2-40B4-BE49-F238E27FC236}">
                <a16:creationId xmlns:a16="http://schemas.microsoft.com/office/drawing/2014/main" id="{4CD5B925-08D7-FF6E-D41B-698741A43284}"/>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8665199" y="2379946"/>
            <a:ext cx="3651244" cy="2417523"/>
          </a:xfrm>
          <a:prstGeom prst="rect">
            <a:avLst/>
          </a:prstGeom>
        </p:spPr>
      </p:pic>
      <p:pic>
        <p:nvPicPr>
          <p:cNvPr id="12" name="Picture 11" descr="A picture containing text&#10;&#10;Description automatically generated">
            <a:extLst>
              <a:ext uri="{FF2B5EF4-FFF2-40B4-BE49-F238E27FC236}">
                <a16:creationId xmlns:a16="http://schemas.microsoft.com/office/drawing/2014/main" id="{1E251F4B-C22C-665B-E236-1FEBA9D51498}"/>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5077216" y="4233797"/>
            <a:ext cx="3757537" cy="2491570"/>
          </a:xfrm>
          <a:prstGeom prst="rect">
            <a:avLst/>
          </a:prstGeom>
        </p:spPr>
      </p:pic>
    </p:spTree>
    <p:extLst>
      <p:ext uri="{BB962C8B-B14F-4D97-AF65-F5344CB8AC3E}">
        <p14:creationId xmlns:p14="http://schemas.microsoft.com/office/powerpoint/2010/main" val="36940861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9" name="Object 8" hidden="1"/>
                      <p:cNvPicPr/>
                      <p:nvPr/>
                    </p:nvPicPr>
                    <p:blipFill>
                      <a:blip r:embed="rId5"/>
                      <a:stretch>
                        <a:fillRect/>
                      </a:stretch>
                    </p:blipFill>
                    <p:spPr>
                      <a:xfrm>
                        <a:off x="1558" y="2044"/>
                        <a:ext cx="1556" cy="1556"/>
                      </a:xfrm>
                      <a:prstGeom prst="rect">
                        <a:avLst/>
                      </a:prstGeom>
                    </p:spPr>
                  </p:pic>
                </p:oleObj>
              </mc:Fallback>
            </mc:AlternateContent>
          </a:graphicData>
        </a:graphic>
      </p:graphicFrame>
      <p:sp>
        <p:nvSpPr>
          <p:cNvPr id="3" name="Rectangle 2"/>
          <p:cNvSpPr/>
          <p:nvPr/>
        </p:nvSpPr>
        <p:spPr bwMode="auto">
          <a:xfrm>
            <a:off x="6161889" y="1563374"/>
            <a:ext cx="159766" cy="4799821"/>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 name="Oval 4"/>
          <p:cNvSpPr/>
          <p:nvPr/>
        </p:nvSpPr>
        <p:spPr bwMode="auto">
          <a:xfrm>
            <a:off x="5904268" y="1600922"/>
            <a:ext cx="664243" cy="664243"/>
          </a:xfrm>
          <a:prstGeom prst="ellipse">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 name="Rectangle: Rounded Corners 13"/>
          <p:cNvSpPr/>
          <p:nvPr/>
        </p:nvSpPr>
        <p:spPr bwMode="auto">
          <a:xfrm rot="21295703">
            <a:off x="2685102" y="1832203"/>
            <a:ext cx="7102577" cy="203878"/>
          </a:xfrm>
          <a:prstGeom prst="roundRect">
            <a:avLst>
              <a:gd name="adj" fmla="val 50000"/>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9" name="Partial Circle 28"/>
          <p:cNvSpPr/>
          <p:nvPr/>
        </p:nvSpPr>
        <p:spPr bwMode="auto">
          <a:xfrm>
            <a:off x="7483505" y="2469847"/>
            <a:ext cx="4452898" cy="3099341"/>
          </a:xfrm>
          <a:prstGeom prst="pie">
            <a:avLst>
              <a:gd name="adj1" fmla="val 0"/>
              <a:gd name="adj2" fmla="val 10788378"/>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none" lIns="0" tIns="2868559" rIns="0" bIns="0" numCol="1" rtlCol="0" anchor="ctr" anchorCtr="0" compatLnSpc="1">
            <a:prstTxWarp prst="textNoShape">
              <a:avLst/>
            </a:prstTxWarp>
          </a:bodyPr>
          <a:lstStyle/>
          <a:p>
            <a:pPr marL="0" marR="0" lvl="0" indent="0" algn="ctr" defTabSz="914460" rtl="0" eaLnBrk="1" fontAlgn="auto" latinLnBrk="0" hangingPunct="1">
              <a:lnSpc>
                <a:spcPct val="100000"/>
              </a:lnSpc>
              <a:spcBef>
                <a:spcPts val="0"/>
              </a:spcBef>
              <a:spcAft>
                <a:spcPts val="588"/>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light"/>
                <a:ea typeface="+mn-ea"/>
                <a:cs typeface="+mn-cs"/>
              </a:rPr>
              <a:t>Long-Term Growth</a:t>
            </a:r>
          </a:p>
          <a:p>
            <a:pPr marL="0" marR="0" lvl="0" indent="0" algn="ctr" defTabSz="914460" rtl="0" eaLnBrk="1" fontAlgn="auto" latinLnBrk="0" hangingPunct="1">
              <a:lnSpc>
                <a:spcPct val="90000"/>
              </a:lnSpc>
              <a:spcBef>
                <a:spcPts val="0"/>
              </a:spcBef>
              <a:spcAft>
                <a:spcPts val="588"/>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Semilight"/>
              <a:ea typeface="+mn-ea"/>
              <a:cs typeface="+mn-cs"/>
            </a:endParaRPr>
          </a:p>
          <a:p>
            <a:pPr marL="0" marR="0" lvl="0" indent="0" algn="ctr" defTabSz="914460" rtl="0" eaLnBrk="1" fontAlgn="auto" latinLnBrk="0" hangingPunct="1">
              <a:lnSpc>
                <a:spcPct val="90000"/>
              </a:lnSpc>
              <a:spcBef>
                <a:spcPts val="0"/>
              </a:spcBef>
              <a:spcAft>
                <a:spcPts val="588"/>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Semilight"/>
              <a:ea typeface="+mn-ea"/>
              <a:cs typeface="+mn-cs"/>
            </a:endParaRPr>
          </a:p>
          <a:p>
            <a:pPr marL="0" marR="0" lvl="0" indent="0" algn="ctr" defTabSz="914460" rtl="0" eaLnBrk="1" fontAlgn="auto" latinLnBrk="0" hangingPunct="1">
              <a:lnSpc>
                <a:spcPct val="90000"/>
              </a:lnSpc>
              <a:spcBef>
                <a:spcPts val="0"/>
              </a:spcBef>
              <a:spcAft>
                <a:spcPts val="588"/>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Semilight"/>
              <a:ea typeface="+mn-ea"/>
              <a:cs typeface="+mn-cs"/>
            </a:endParaRPr>
          </a:p>
          <a:p>
            <a:pPr marL="0" marR="0" lvl="0" indent="0" algn="ctr" defTabSz="91446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light"/>
                <a:ea typeface="+mn-ea"/>
                <a:cs typeface="+mn-cs"/>
              </a:rPr>
              <a:t>n </a:t>
            </a:r>
          </a:p>
        </p:txBody>
      </p:sp>
      <p:sp>
        <p:nvSpPr>
          <p:cNvPr id="34" name="Freeform: Shape 33"/>
          <p:cNvSpPr>
            <a:spLocks/>
          </p:cNvSpPr>
          <p:nvPr/>
        </p:nvSpPr>
        <p:spPr bwMode="auto">
          <a:xfrm>
            <a:off x="8244318" y="1644348"/>
            <a:ext cx="2912726" cy="2355164"/>
          </a:xfrm>
          <a:custGeom>
            <a:avLst/>
            <a:gdLst>
              <a:gd name="connsiteX0" fmla="*/ 2815844 w 5631687"/>
              <a:gd name="connsiteY0" fmla="*/ 0 h 4862435"/>
              <a:gd name="connsiteX1" fmla="*/ 5631687 w 5631687"/>
              <a:gd name="connsiteY1" fmla="*/ 4862435 h 4862435"/>
              <a:gd name="connsiteX2" fmla="*/ 2815844 w 5631687"/>
              <a:gd name="connsiteY2" fmla="*/ 3698785 h 4862435"/>
              <a:gd name="connsiteX3" fmla="*/ 0 w 5631687"/>
              <a:gd name="connsiteY3" fmla="*/ 4862435 h 4862435"/>
              <a:gd name="connsiteX0" fmla="*/ 2815844 w 5631687"/>
              <a:gd name="connsiteY0" fmla="*/ 3698785 h 4862435"/>
              <a:gd name="connsiteX1" fmla="*/ 0 w 5631687"/>
              <a:gd name="connsiteY1" fmla="*/ 4862435 h 4862435"/>
              <a:gd name="connsiteX2" fmla="*/ 2815844 w 5631687"/>
              <a:gd name="connsiteY2" fmla="*/ 0 h 4862435"/>
              <a:gd name="connsiteX3" fmla="*/ 5631687 w 5631687"/>
              <a:gd name="connsiteY3" fmla="*/ 4862435 h 4862435"/>
              <a:gd name="connsiteX4" fmla="*/ 3189279 w 5631687"/>
              <a:gd name="connsiteY4" fmla="*/ 4072220 h 4862435"/>
              <a:gd name="connsiteX0" fmla="*/ 2815844 w 5631687"/>
              <a:gd name="connsiteY0" fmla="*/ 3698785 h 4862435"/>
              <a:gd name="connsiteX1" fmla="*/ 0 w 5631687"/>
              <a:gd name="connsiteY1" fmla="*/ 4862435 h 4862435"/>
              <a:gd name="connsiteX2" fmla="*/ 2815844 w 5631687"/>
              <a:gd name="connsiteY2" fmla="*/ 0 h 4862435"/>
              <a:gd name="connsiteX3" fmla="*/ 5631687 w 5631687"/>
              <a:gd name="connsiteY3" fmla="*/ 4862435 h 4862435"/>
              <a:gd name="connsiteX0" fmla="*/ 0 w 5631687"/>
              <a:gd name="connsiteY0" fmla="*/ 4862435 h 4862435"/>
              <a:gd name="connsiteX1" fmla="*/ 2815844 w 5631687"/>
              <a:gd name="connsiteY1" fmla="*/ 0 h 4862435"/>
              <a:gd name="connsiteX2" fmla="*/ 5631687 w 5631687"/>
              <a:gd name="connsiteY2" fmla="*/ 4862435 h 4862435"/>
            </a:gdLst>
            <a:ahLst/>
            <a:cxnLst>
              <a:cxn ang="0">
                <a:pos x="connsiteX0" y="connsiteY0"/>
              </a:cxn>
              <a:cxn ang="0">
                <a:pos x="connsiteX1" y="connsiteY1"/>
              </a:cxn>
              <a:cxn ang="0">
                <a:pos x="connsiteX2" y="connsiteY2"/>
              </a:cxn>
            </a:cxnLst>
            <a:rect l="l" t="t" r="r" b="b"/>
            <a:pathLst>
              <a:path w="5631687" h="4862435">
                <a:moveTo>
                  <a:pt x="0" y="4862435"/>
                </a:moveTo>
                <a:lnTo>
                  <a:pt x="2815844" y="0"/>
                </a:lnTo>
                <a:lnTo>
                  <a:pt x="5631687" y="4862435"/>
                </a:lnTo>
              </a:path>
            </a:pathLst>
          </a:custGeom>
          <a:noFill/>
          <a:ln w="28575" cap="rnd">
            <a:solidFill>
              <a:schemeClr val="bg1">
                <a:lumMod val="50000"/>
              </a:schemeClr>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Oval 35"/>
          <p:cNvSpPr/>
          <p:nvPr/>
        </p:nvSpPr>
        <p:spPr bwMode="auto">
          <a:xfrm>
            <a:off x="8179168" y="3923514"/>
            <a:ext cx="169682" cy="169682"/>
          </a:xfrm>
          <a:prstGeom prst="ellipse">
            <a:avLst/>
          </a:prstGeom>
          <a:solidFill>
            <a:schemeClr val="accent2"/>
          </a:solid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7" name="Oval 36"/>
          <p:cNvSpPr/>
          <p:nvPr/>
        </p:nvSpPr>
        <p:spPr bwMode="auto">
          <a:xfrm>
            <a:off x="11082147" y="3923514"/>
            <a:ext cx="169682" cy="169682"/>
          </a:xfrm>
          <a:prstGeom prst="ellipse">
            <a:avLst/>
          </a:prstGeom>
          <a:solidFill>
            <a:schemeClr val="accent2"/>
          </a:solid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 name="Title 5"/>
          <p:cNvSpPr>
            <a:spLocks noGrp="1"/>
          </p:cNvSpPr>
          <p:nvPr>
            <p:ph type="title"/>
          </p:nvPr>
        </p:nvSpPr>
        <p:spPr>
          <a:xfrm>
            <a:off x="261119" y="243512"/>
            <a:ext cx="11655840" cy="899665"/>
          </a:xfrm>
        </p:spPr>
        <p:txBody>
          <a:bodyPr/>
          <a:lstStyle/>
          <a:p>
            <a:r>
              <a:rPr lang="en-US" sz="3200" dirty="0">
                <a:latin typeface="Segoe UI Semibold" panose="020B0702040204020203" pitchFamily="34" charset="0"/>
                <a:cs typeface="Segoe UI Semibold" panose="020B0702040204020203" pitchFamily="34" charset="0"/>
              </a:rPr>
              <a:t>Retail Banking Transformations</a:t>
            </a:r>
          </a:p>
        </p:txBody>
      </p:sp>
      <p:sp>
        <p:nvSpPr>
          <p:cNvPr id="19" name="Rectangle: Top Corners Rounded 10"/>
          <p:cNvSpPr/>
          <p:nvPr/>
        </p:nvSpPr>
        <p:spPr bwMode="auto">
          <a:xfrm>
            <a:off x="4854137" y="5950796"/>
            <a:ext cx="2764506" cy="907203"/>
          </a:xfrm>
          <a:prstGeom prst="round2SameRect">
            <a:avLst>
              <a:gd name="adj1" fmla="val 50000"/>
              <a:gd name="adj2" fmla="val 0"/>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2" name="Rectangle 131">
            <a:extLst>
              <a:ext uri="{FF2B5EF4-FFF2-40B4-BE49-F238E27FC236}">
                <a16:creationId xmlns:a16="http://schemas.microsoft.com/office/drawing/2014/main" id="{6CBBE191-AE2D-4A1A-BE31-60C944958312}"/>
              </a:ext>
            </a:extLst>
          </p:cNvPr>
          <p:cNvSpPr/>
          <p:nvPr/>
        </p:nvSpPr>
        <p:spPr>
          <a:xfrm>
            <a:off x="10497625" y="2703561"/>
            <a:ext cx="980682"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050"/>
                </a:solidFill>
                <a:effectLst/>
                <a:uLnTx/>
                <a:uFillTx/>
                <a:latin typeface="Segoe UI Semilight"/>
                <a:ea typeface="Segoe UI" pitchFamily="34" charset="0"/>
                <a:cs typeface="Segoe UI" pitchFamily="34" charset="0"/>
              </a:rPr>
              <a:t>Customer Acquisition</a:t>
            </a:r>
          </a:p>
        </p:txBody>
      </p:sp>
      <p:sp>
        <p:nvSpPr>
          <p:cNvPr id="134" name="Rectangle 133">
            <a:extLst>
              <a:ext uri="{FF2B5EF4-FFF2-40B4-BE49-F238E27FC236}">
                <a16:creationId xmlns:a16="http://schemas.microsoft.com/office/drawing/2014/main" id="{FFFA84A5-264B-454B-B075-F19331DAA3E3}"/>
              </a:ext>
            </a:extLst>
          </p:cNvPr>
          <p:cNvSpPr/>
          <p:nvPr/>
        </p:nvSpPr>
        <p:spPr>
          <a:xfrm>
            <a:off x="9990603" y="3632429"/>
            <a:ext cx="1168644"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050"/>
                </a:solidFill>
                <a:effectLst/>
                <a:uLnTx/>
                <a:uFillTx/>
                <a:latin typeface="Segoe UI Semilight"/>
                <a:ea typeface="Segoe UI" pitchFamily="34" charset="0"/>
                <a:cs typeface="Segoe UI" pitchFamily="34" charset="0"/>
              </a:rPr>
              <a:t>Omni-Channel Banking</a:t>
            </a:r>
          </a:p>
        </p:txBody>
      </p:sp>
      <p:grpSp>
        <p:nvGrpSpPr>
          <p:cNvPr id="135" name="Group 134">
            <a:extLst>
              <a:ext uri="{FF2B5EF4-FFF2-40B4-BE49-F238E27FC236}">
                <a16:creationId xmlns:a16="http://schemas.microsoft.com/office/drawing/2014/main" id="{B6C8CBA5-BA8B-4120-9A97-DBDD9077CFD2}"/>
              </a:ext>
            </a:extLst>
          </p:cNvPr>
          <p:cNvGrpSpPr/>
          <p:nvPr/>
        </p:nvGrpSpPr>
        <p:grpSpPr>
          <a:xfrm>
            <a:off x="10301485" y="3468336"/>
            <a:ext cx="308191" cy="209615"/>
            <a:chOff x="10568374" y="4130678"/>
            <a:chExt cx="580847" cy="395062"/>
          </a:xfrm>
          <a:noFill/>
        </p:grpSpPr>
        <p:sp>
          <p:nvSpPr>
            <p:cNvPr id="136" name="Oval 135">
              <a:extLst>
                <a:ext uri="{FF2B5EF4-FFF2-40B4-BE49-F238E27FC236}">
                  <a16:creationId xmlns:a16="http://schemas.microsoft.com/office/drawing/2014/main" id="{D7E4EAF0-6A10-4ECE-A6B4-A343B4897E34}"/>
                </a:ext>
              </a:extLst>
            </p:cNvPr>
            <p:cNvSpPr/>
            <p:nvPr/>
          </p:nvSpPr>
          <p:spPr bwMode="auto">
            <a:xfrm>
              <a:off x="10754158" y="4130678"/>
              <a:ext cx="395063" cy="395062"/>
            </a:xfrm>
            <a:prstGeom prst="ellipse">
              <a:avLst/>
            </a:prstGeom>
            <a:grp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 name="Oval 136">
              <a:extLst>
                <a:ext uri="{FF2B5EF4-FFF2-40B4-BE49-F238E27FC236}">
                  <a16:creationId xmlns:a16="http://schemas.microsoft.com/office/drawing/2014/main" id="{9D71BFE6-1BF1-4F78-A1BF-6316AAEE16FD}"/>
                </a:ext>
              </a:extLst>
            </p:cNvPr>
            <p:cNvSpPr/>
            <p:nvPr/>
          </p:nvSpPr>
          <p:spPr bwMode="auto">
            <a:xfrm>
              <a:off x="10568374" y="4130678"/>
              <a:ext cx="395062" cy="395062"/>
            </a:xfrm>
            <a:prstGeom prst="ellipse">
              <a:avLst/>
            </a:prstGeom>
            <a:grp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16C4EC6F-396C-4EE1-BC2C-8F9A8248DAAB}"/>
              </a:ext>
            </a:extLst>
          </p:cNvPr>
          <p:cNvGrpSpPr/>
          <p:nvPr/>
        </p:nvGrpSpPr>
        <p:grpSpPr>
          <a:xfrm rot="21234878">
            <a:off x="2855653" y="3684001"/>
            <a:ext cx="543758" cy="296121"/>
            <a:chOff x="7615233" y="7724764"/>
            <a:chExt cx="911229" cy="579448"/>
          </a:xfrm>
          <a:noFill/>
        </p:grpSpPr>
        <p:sp>
          <p:nvSpPr>
            <p:cNvPr id="139" name="Oval 78">
              <a:extLst>
                <a:ext uri="{FF2B5EF4-FFF2-40B4-BE49-F238E27FC236}">
                  <a16:creationId xmlns:a16="http://schemas.microsoft.com/office/drawing/2014/main" id="{AB400896-48A8-48A4-A76C-DC06B1C78FB2}"/>
                </a:ext>
              </a:extLst>
            </p:cNvPr>
            <p:cNvSpPr>
              <a:spLocks noChangeArrowheads="1"/>
            </p:cNvSpPr>
            <p:nvPr/>
          </p:nvSpPr>
          <p:spPr bwMode="auto">
            <a:xfrm>
              <a:off x="8288334" y="7756514"/>
              <a:ext cx="173038" cy="174625"/>
            </a:xfrm>
            <a:prstGeom prst="ellipse">
              <a:avLst/>
            </a:pr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Freeform 79">
              <a:extLst>
                <a:ext uri="{FF2B5EF4-FFF2-40B4-BE49-F238E27FC236}">
                  <a16:creationId xmlns:a16="http://schemas.microsoft.com/office/drawing/2014/main" id="{BCD4A57C-FD1E-4C9B-9B18-884E7F050BAA}"/>
                </a:ext>
              </a:extLst>
            </p:cNvPr>
            <p:cNvSpPr>
              <a:spLocks/>
            </p:cNvSpPr>
            <p:nvPr/>
          </p:nvSpPr>
          <p:spPr bwMode="auto">
            <a:xfrm>
              <a:off x="8223250" y="7931138"/>
              <a:ext cx="303212" cy="155574"/>
            </a:xfrm>
            <a:custGeom>
              <a:avLst/>
              <a:gdLst>
                <a:gd name="T0" fmla="*/ 182 w 182"/>
                <a:gd name="T1" fmla="*/ 91 h 91"/>
                <a:gd name="T2" fmla="*/ 91 w 182"/>
                <a:gd name="T3" fmla="*/ 0 h 91"/>
                <a:gd name="T4" fmla="*/ 0 w 182"/>
                <a:gd name="T5" fmla="*/ 91 h 91"/>
              </a:gdLst>
              <a:ahLst/>
              <a:cxnLst>
                <a:cxn ang="0">
                  <a:pos x="T0" y="T1"/>
                </a:cxn>
                <a:cxn ang="0">
                  <a:pos x="T2" y="T3"/>
                </a:cxn>
                <a:cxn ang="0">
                  <a:pos x="T4" y="T5"/>
                </a:cxn>
              </a:cxnLst>
              <a:rect l="0" t="0" r="r" b="b"/>
              <a:pathLst>
                <a:path w="182" h="91">
                  <a:moveTo>
                    <a:pt x="182" y="91"/>
                  </a:moveTo>
                  <a:cubicBezTo>
                    <a:pt x="182" y="40"/>
                    <a:pt x="142" y="0"/>
                    <a:pt x="91" y="0"/>
                  </a:cubicBezTo>
                  <a:cubicBezTo>
                    <a:pt x="41" y="0"/>
                    <a:pt x="0" y="40"/>
                    <a:pt x="0" y="91"/>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1" name="Oval 80">
              <a:extLst>
                <a:ext uri="{FF2B5EF4-FFF2-40B4-BE49-F238E27FC236}">
                  <a16:creationId xmlns:a16="http://schemas.microsoft.com/office/drawing/2014/main" id="{BB9C1F19-AA5C-4963-8F5D-C7297E24C981}"/>
                </a:ext>
              </a:extLst>
            </p:cNvPr>
            <p:cNvSpPr>
              <a:spLocks noChangeArrowheads="1"/>
            </p:cNvSpPr>
            <p:nvPr/>
          </p:nvSpPr>
          <p:spPr bwMode="auto">
            <a:xfrm>
              <a:off x="7680324" y="7756514"/>
              <a:ext cx="173038" cy="174625"/>
            </a:xfrm>
            <a:prstGeom prst="ellipse">
              <a:avLst/>
            </a:pr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2" name="Freeform 81">
              <a:extLst>
                <a:ext uri="{FF2B5EF4-FFF2-40B4-BE49-F238E27FC236}">
                  <a16:creationId xmlns:a16="http://schemas.microsoft.com/office/drawing/2014/main" id="{790F7769-0D81-4183-9D33-73994DBC2CC5}"/>
                </a:ext>
              </a:extLst>
            </p:cNvPr>
            <p:cNvSpPr>
              <a:spLocks/>
            </p:cNvSpPr>
            <p:nvPr/>
          </p:nvSpPr>
          <p:spPr bwMode="auto">
            <a:xfrm>
              <a:off x="7615233" y="7931138"/>
              <a:ext cx="303212" cy="155574"/>
            </a:xfrm>
            <a:custGeom>
              <a:avLst/>
              <a:gdLst>
                <a:gd name="T0" fmla="*/ 182 w 182"/>
                <a:gd name="T1" fmla="*/ 91 h 91"/>
                <a:gd name="T2" fmla="*/ 91 w 182"/>
                <a:gd name="T3" fmla="*/ 0 h 91"/>
                <a:gd name="T4" fmla="*/ 0 w 182"/>
                <a:gd name="T5" fmla="*/ 91 h 91"/>
              </a:gdLst>
              <a:ahLst/>
              <a:cxnLst>
                <a:cxn ang="0">
                  <a:pos x="T0" y="T1"/>
                </a:cxn>
                <a:cxn ang="0">
                  <a:pos x="T2" y="T3"/>
                </a:cxn>
                <a:cxn ang="0">
                  <a:pos x="T4" y="T5"/>
                </a:cxn>
              </a:cxnLst>
              <a:rect l="0" t="0" r="r" b="b"/>
              <a:pathLst>
                <a:path w="182" h="91">
                  <a:moveTo>
                    <a:pt x="182" y="91"/>
                  </a:moveTo>
                  <a:cubicBezTo>
                    <a:pt x="182" y="40"/>
                    <a:pt x="142" y="0"/>
                    <a:pt x="91" y="0"/>
                  </a:cubicBezTo>
                  <a:cubicBezTo>
                    <a:pt x="41" y="0"/>
                    <a:pt x="0" y="40"/>
                    <a:pt x="0" y="91"/>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3" name="Oval 82">
              <a:extLst>
                <a:ext uri="{FF2B5EF4-FFF2-40B4-BE49-F238E27FC236}">
                  <a16:creationId xmlns:a16="http://schemas.microsoft.com/office/drawing/2014/main" id="{670EA776-04EF-4B2F-8B5C-765765F7197F}"/>
                </a:ext>
              </a:extLst>
            </p:cNvPr>
            <p:cNvSpPr>
              <a:spLocks noChangeArrowheads="1"/>
            </p:cNvSpPr>
            <p:nvPr/>
          </p:nvSpPr>
          <p:spPr bwMode="auto">
            <a:xfrm>
              <a:off x="7918446" y="7724764"/>
              <a:ext cx="304799" cy="307974"/>
            </a:xfrm>
            <a:prstGeom prst="ellipse">
              <a:avLst/>
            </a:pr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4" name="Freeform 83">
              <a:extLst>
                <a:ext uri="{FF2B5EF4-FFF2-40B4-BE49-F238E27FC236}">
                  <a16:creationId xmlns:a16="http://schemas.microsoft.com/office/drawing/2014/main" id="{BEEE0E00-9B0E-4CB9-8292-D831C23B5913}"/>
                </a:ext>
              </a:extLst>
            </p:cNvPr>
            <p:cNvSpPr>
              <a:spLocks/>
            </p:cNvSpPr>
            <p:nvPr/>
          </p:nvSpPr>
          <p:spPr bwMode="auto">
            <a:xfrm>
              <a:off x="7805738" y="8032750"/>
              <a:ext cx="531813" cy="271462"/>
            </a:xfrm>
            <a:custGeom>
              <a:avLst/>
              <a:gdLst>
                <a:gd name="T0" fmla="*/ 320 w 320"/>
                <a:gd name="T1" fmla="*/ 160 h 160"/>
                <a:gd name="T2" fmla="*/ 160 w 320"/>
                <a:gd name="T3" fmla="*/ 0 h 160"/>
                <a:gd name="T4" fmla="*/ 0 w 320"/>
                <a:gd name="T5" fmla="*/ 160 h 160"/>
              </a:gdLst>
              <a:ahLst/>
              <a:cxnLst>
                <a:cxn ang="0">
                  <a:pos x="T0" y="T1"/>
                </a:cxn>
                <a:cxn ang="0">
                  <a:pos x="T2" y="T3"/>
                </a:cxn>
                <a:cxn ang="0">
                  <a:pos x="T4" y="T5"/>
                </a:cxn>
              </a:cxnLst>
              <a:rect l="0" t="0" r="r" b="b"/>
              <a:pathLst>
                <a:path w="320" h="160">
                  <a:moveTo>
                    <a:pt x="320" y="160"/>
                  </a:moveTo>
                  <a:cubicBezTo>
                    <a:pt x="320" y="72"/>
                    <a:pt x="248" y="0"/>
                    <a:pt x="160" y="0"/>
                  </a:cubicBezTo>
                  <a:cubicBezTo>
                    <a:pt x="72" y="0"/>
                    <a:pt x="0" y="72"/>
                    <a:pt x="0" y="160"/>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46" name="Rectangle 145">
            <a:extLst>
              <a:ext uri="{FF2B5EF4-FFF2-40B4-BE49-F238E27FC236}">
                <a16:creationId xmlns:a16="http://schemas.microsoft.com/office/drawing/2014/main" id="{33B705EE-D2E9-455D-BE03-44D016E9B74C}"/>
              </a:ext>
            </a:extLst>
          </p:cNvPr>
          <p:cNvSpPr/>
          <p:nvPr/>
        </p:nvSpPr>
        <p:spPr>
          <a:xfrm>
            <a:off x="9113543" y="2911594"/>
            <a:ext cx="803155" cy="60016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050"/>
                </a:solidFill>
                <a:effectLst/>
                <a:uLnTx/>
                <a:uFillTx/>
                <a:latin typeface="Segoe UI Semilight"/>
                <a:ea typeface="Segoe UI" pitchFamily="34" charset="0"/>
                <a:cs typeface="Segoe UI" pitchFamily="34" charset="0"/>
              </a:rPr>
              <a:t>Increasing Wallet Share</a:t>
            </a:r>
          </a:p>
        </p:txBody>
      </p:sp>
      <p:sp>
        <p:nvSpPr>
          <p:cNvPr id="155" name="Rectangle 154">
            <a:extLst>
              <a:ext uri="{FF2B5EF4-FFF2-40B4-BE49-F238E27FC236}">
                <a16:creationId xmlns:a16="http://schemas.microsoft.com/office/drawing/2014/main" id="{06B23E35-44E8-45D3-88F8-A556C820E32D}"/>
              </a:ext>
            </a:extLst>
          </p:cNvPr>
          <p:cNvSpPr/>
          <p:nvPr/>
        </p:nvSpPr>
        <p:spPr>
          <a:xfrm>
            <a:off x="8047736" y="2723110"/>
            <a:ext cx="1018714"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050"/>
                </a:solidFill>
                <a:effectLst/>
                <a:uLnTx/>
                <a:uFillTx/>
                <a:latin typeface="Segoe UI Semilight"/>
                <a:ea typeface="Segoe UI" pitchFamily="34" charset="0"/>
                <a:cs typeface="Segoe UI" pitchFamily="34" charset="0"/>
              </a:rPr>
              <a:t>Personalized Service</a:t>
            </a:r>
          </a:p>
        </p:txBody>
      </p:sp>
      <p:grpSp>
        <p:nvGrpSpPr>
          <p:cNvPr id="156" name="Group 155">
            <a:extLst>
              <a:ext uri="{FF2B5EF4-FFF2-40B4-BE49-F238E27FC236}">
                <a16:creationId xmlns:a16="http://schemas.microsoft.com/office/drawing/2014/main" id="{92A732AC-3ED1-4EAA-B8D0-DA63CEABB633}"/>
              </a:ext>
            </a:extLst>
          </p:cNvPr>
          <p:cNvGrpSpPr/>
          <p:nvPr/>
        </p:nvGrpSpPr>
        <p:grpSpPr>
          <a:xfrm>
            <a:off x="8508614" y="2381545"/>
            <a:ext cx="357025" cy="357025"/>
            <a:chOff x="8300191" y="1914933"/>
            <a:chExt cx="441786" cy="441786"/>
          </a:xfrm>
        </p:grpSpPr>
        <p:grpSp>
          <p:nvGrpSpPr>
            <p:cNvPr id="157" name="Group 156">
              <a:extLst>
                <a:ext uri="{FF2B5EF4-FFF2-40B4-BE49-F238E27FC236}">
                  <a16:creationId xmlns:a16="http://schemas.microsoft.com/office/drawing/2014/main" id="{FCA9847E-9EAC-467C-B2EA-2EA02970D48B}"/>
                </a:ext>
              </a:extLst>
            </p:cNvPr>
            <p:cNvGrpSpPr/>
            <p:nvPr/>
          </p:nvGrpSpPr>
          <p:grpSpPr>
            <a:xfrm>
              <a:off x="8424321" y="2030398"/>
              <a:ext cx="193526" cy="210857"/>
              <a:chOff x="8190590" y="2039299"/>
              <a:chExt cx="397767" cy="433388"/>
            </a:xfrm>
          </p:grpSpPr>
          <p:sp>
            <p:nvSpPr>
              <p:cNvPr id="160" name="Oval 82">
                <a:extLst>
                  <a:ext uri="{FF2B5EF4-FFF2-40B4-BE49-F238E27FC236}">
                    <a16:creationId xmlns:a16="http://schemas.microsoft.com/office/drawing/2014/main" id="{730C6EAB-9E26-4158-9CC6-C31B8BA8A39B}"/>
                  </a:ext>
                </a:extLst>
              </p:cNvPr>
              <p:cNvSpPr>
                <a:spLocks noChangeArrowheads="1"/>
              </p:cNvSpPr>
              <p:nvPr/>
            </p:nvSpPr>
            <p:spPr bwMode="auto">
              <a:xfrm>
                <a:off x="8274893" y="2039299"/>
                <a:ext cx="227974" cy="230349"/>
              </a:xfrm>
              <a:prstGeom prst="ellipse">
                <a:avLst/>
              </a:pr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1" name="Freeform 83">
                <a:extLst>
                  <a:ext uri="{FF2B5EF4-FFF2-40B4-BE49-F238E27FC236}">
                    <a16:creationId xmlns:a16="http://schemas.microsoft.com/office/drawing/2014/main" id="{B7699ACA-9FA7-40CC-8411-8BFF384E729D}"/>
                  </a:ext>
                </a:extLst>
              </p:cNvPr>
              <p:cNvSpPr>
                <a:spLocks/>
              </p:cNvSpPr>
              <p:nvPr/>
            </p:nvSpPr>
            <p:spPr bwMode="auto">
              <a:xfrm>
                <a:off x="8190590" y="2269648"/>
                <a:ext cx="397767" cy="203039"/>
              </a:xfrm>
              <a:custGeom>
                <a:avLst/>
                <a:gdLst>
                  <a:gd name="T0" fmla="*/ 320 w 320"/>
                  <a:gd name="T1" fmla="*/ 160 h 160"/>
                  <a:gd name="T2" fmla="*/ 160 w 320"/>
                  <a:gd name="T3" fmla="*/ 0 h 160"/>
                  <a:gd name="T4" fmla="*/ 0 w 320"/>
                  <a:gd name="T5" fmla="*/ 160 h 160"/>
                </a:gdLst>
                <a:ahLst/>
                <a:cxnLst>
                  <a:cxn ang="0">
                    <a:pos x="T0" y="T1"/>
                  </a:cxn>
                  <a:cxn ang="0">
                    <a:pos x="T2" y="T3"/>
                  </a:cxn>
                  <a:cxn ang="0">
                    <a:pos x="T4" y="T5"/>
                  </a:cxn>
                </a:cxnLst>
                <a:rect l="0" t="0" r="r" b="b"/>
                <a:pathLst>
                  <a:path w="320" h="160">
                    <a:moveTo>
                      <a:pt x="320" y="160"/>
                    </a:moveTo>
                    <a:cubicBezTo>
                      <a:pt x="320" y="72"/>
                      <a:pt x="248" y="0"/>
                      <a:pt x="160" y="0"/>
                    </a:cubicBezTo>
                    <a:cubicBezTo>
                      <a:pt x="72" y="0"/>
                      <a:pt x="0" y="72"/>
                      <a:pt x="0" y="16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58" name="Oval 157">
              <a:extLst>
                <a:ext uri="{FF2B5EF4-FFF2-40B4-BE49-F238E27FC236}">
                  <a16:creationId xmlns:a16="http://schemas.microsoft.com/office/drawing/2014/main" id="{137D6899-FDE7-46FB-A50C-262EA6DBCB60}"/>
                </a:ext>
              </a:extLst>
            </p:cNvPr>
            <p:cNvSpPr/>
            <p:nvPr/>
          </p:nvSpPr>
          <p:spPr bwMode="auto">
            <a:xfrm>
              <a:off x="8300191" y="1914933"/>
              <a:ext cx="441786" cy="4417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9" name="Oval 158">
              <a:extLst>
                <a:ext uri="{FF2B5EF4-FFF2-40B4-BE49-F238E27FC236}">
                  <a16:creationId xmlns:a16="http://schemas.microsoft.com/office/drawing/2014/main" id="{A86F18D6-E921-4BFB-B01D-C7E8C2FB2584}"/>
                </a:ext>
              </a:extLst>
            </p:cNvPr>
            <p:cNvSpPr/>
            <p:nvPr/>
          </p:nvSpPr>
          <p:spPr bwMode="auto">
            <a:xfrm>
              <a:off x="8338204" y="1952946"/>
              <a:ext cx="365760" cy="36576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63" name="Rectangle 162">
            <a:extLst>
              <a:ext uri="{FF2B5EF4-FFF2-40B4-BE49-F238E27FC236}">
                <a16:creationId xmlns:a16="http://schemas.microsoft.com/office/drawing/2014/main" id="{F51FAE3C-A6A4-4551-BDBF-4E37C2A8A889}"/>
              </a:ext>
            </a:extLst>
          </p:cNvPr>
          <p:cNvSpPr/>
          <p:nvPr/>
        </p:nvSpPr>
        <p:spPr>
          <a:xfrm>
            <a:off x="7421377" y="3462980"/>
            <a:ext cx="981524"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050"/>
                </a:solidFill>
                <a:effectLst/>
                <a:uLnTx/>
                <a:uFillTx/>
                <a:latin typeface="Segoe UI Semilight"/>
                <a:ea typeface="Segoe UI" pitchFamily="34" charset="0"/>
                <a:cs typeface="Segoe UI" pitchFamily="34" charset="0"/>
              </a:rPr>
              <a:t>Customer Loyalty</a:t>
            </a:r>
          </a:p>
        </p:txBody>
      </p:sp>
      <p:grpSp>
        <p:nvGrpSpPr>
          <p:cNvPr id="164" name="Group 163">
            <a:extLst>
              <a:ext uri="{FF2B5EF4-FFF2-40B4-BE49-F238E27FC236}">
                <a16:creationId xmlns:a16="http://schemas.microsoft.com/office/drawing/2014/main" id="{5C3ADF7D-A39B-457D-86AE-4B22548CB983}"/>
              </a:ext>
            </a:extLst>
          </p:cNvPr>
          <p:cNvGrpSpPr/>
          <p:nvPr/>
        </p:nvGrpSpPr>
        <p:grpSpPr>
          <a:xfrm>
            <a:off x="7809369" y="3182838"/>
            <a:ext cx="393676" cy="321740"/>
            <a:chOff x="7513638" y="-533400"/>
            <a:chExt cx="790575" cy="646113"/>
          </a:xfrm>
          <a:noFill/>
        </p:grpSpPr>
        <p:sp>
          <p:nvSpPr>
            <p:cNvPr id="165" name="Freeform 110">
              <a:extLst>
                <a:ext uri="{FF2B5EF4-FFF2-40B4-BE49-F238E27FC236}">
                  <a16:creationId xmlns:a16="http://schemas.microsoft.com/office/drawing/2014/main" id="{E23E2F80-86A2-41E2-8D4F-F53081CA4661}"/>
                </a:ext>
              </a:extLst>
            </p:cNvPr>
            <p:cNvSpPr>
              <a:spLocks/>
            </p:cNvSpPr>
            <p:nvPr/>
          </p:nvSpPr>
          <p:spPr bwMode="auto">
            <a:xfrm>
              <a:off x="7624763" y="-428625"/>
              <a:ext cx="133350" cy="227013"/>
            </a:xfrm>
            <a:custGeom>
              <a:avLst/>
              <a:gdLst>
                <a:gd name="T0" fmla="*/ 80 w 80"/>
                <a:gd name="T1" fmla="*/ 134 h 134"/>
                <a:gd name="T2" fmla="*/ 30 w 80"/>
                <a:gd name="T3" fmla="*/ 134 h 134"/>
                <a:gd name="T4" fmla="*/ 11 w 80"/>
                <a:gd name="T5" fmla="*/ 89 h 134"/>
                <a:gd name="T6" fmla="*/ 6 w 80"/>
                <a:gd name="T7" fmla="*/ 80 h 134"/>
                <a:gd name="T8" fmla="*/ 6 w 80"/>
                <a:gd name="T9" fmla="*/ 80 h 134"/>
                <a:gd name="T10" fmla="*/ 0 w 80"/>
                <a:gd name="T11" fmla="*/ 55 h 134"/>
                <a:gd name="T12" fmla="*/ 55 w 80"/>
                <a:gd name="T13" fmla="*/ 0 h 134"/>
                <a:gd name="T14" fmla="*/ 55 w 80"/>
                <a:gd name="T15" fmla="*/ 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34">
                  <a:moveTo>
                    <a:pt x="80" y="134"/>
                  </a:moveTo>
                  <a:cubicBezTo>
                    <a:pt x="30" y="134"/>
                    <a:pt x="30" y="134"/>
                    <a:pt x="30" y="134"/>
                  </a:cubicBezTo>
                  <a:cubicBezTo>
                    <a:pt x="30" y="134"/>
                    <a:pt x="29" y="117"/>
                    <a:pt x="11" y="89"/>
                  </a:cubicBezTo>
                  <a:cubicBezTo>
                    <a:pt x="9" y="86"/>
                    <a:pt x="7" y="83"/>
                    <a:pt x="6" y="80"/>
                  </a:cubicBezTo>
                  <a:cubicBezTo>
                    <a:pt x="6" y="80"/>
                    <a:pt x="6" y="80"/>
                    <a:pt x="6" y="80"/>
                  </a:cubicBezTo>
                  <a:cubicBezTo>
                    <a:pt x="2" y="73"/>
                    <a:pt x="0" y="64"/>
                    <a:pt x="0" y="55"/>
                  </a:cubicBezTo>
                  <a:cubicBezTo>
                    <a:pt x="0" y="25"/>
                    <a:pt x="24" y="0"/>
                    <a:pt x="55" y="0"/>
                  </a:cubicBezTo>
                  <a:cubicBezTo>
                    <a:pt x="55" y="0"/>
                    <a:pt x="55" y="0"/>
                    <a:pt x="55" y="0"/>
                  </a:cubicBez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6" name="Freeform 111">
              <a:extLst>
                <a:ext uri="{FF2B5EF4-FFF2-40B4-BE49-F238E27FC236}">
                  <a16:creationId xmlns:a16="http://schemas.microsoft.com/office/drawing/2014/main" id="{55F72B1C-9A59-40B0-BD6D-7E44DFAB513B}"/>
                </a:ext>
              </a:extLst>
            </p:cNvPr>
            <p:cNvSpPr>
              <a:spLocks/>
            </p:cNvSpPr>
            <p:nvPr/>
          </p:nvSpPr>
          <p:spPr bwMode="auto">
            <a:xfrm>
              <a:off x="7673975" y="-428625"/>
              <a:ext cx="131763" cy="227013"/>
            </a:xfrm>
            <a:custGeom>
              <a:avLst/>
              <a:gdLst>
                <a:gd name="T0" fmla="*/ 25 w 80"/>
                <a:gd name="T1" fmla="*/ 0 h 134"/>
                <a:gd name="T2" fmla="*/ 25 w 80"/>
                <a:gd name="T3" fmla="*/ 0 h 134"/>
                <a:gd name="T4" fmla="*/ 80 w 80"/>
                <a:gd name="T5" fmla="*/ 55 h 134"/>
                <a:gd name="T6" fmla="*/ 74 w 80"/>
                <a:gd name="T7" fmla="*/ 80 h 134"/>
                <a:gd name="T8" fmla="*/ 74 w 80"/>
                <a:gd name="T9" fmla="*/ 80 h 134"/>
                <a:gd name="T10" fmla="*/ 69 w 80"/>
                <a:gd name="T11" fmla="*/ 89 h 134"/>
                <a:gd name="T12" fmla="*/ 51 w 80"/>
                <a:gd name="T13" fmla="*/ 134 h 134"/>
                <a:gd name="T14" fmla="*/ 0 w 80"/>
                <a:gd name="T15" fmla="*/ 13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34">
                  <a:moveTo>
                    <a:pt x="25" y="0"/>
                  </a:moveTo>
                  <a:cubicBezTo>
                    <a:pt x="25" y="0"/>
                    <a:pt x="25" y="0"/>
                    <a:pt x="25" y="0"/>
                  </a:cubicBezTo>
                  <a:cubicBezTo>
                    <a:pt x="56" y="0"/>
                    <a:pt x="80" y="25"/>
                    <a:pt x="80" y="55"/>
                  </a:cubicBezTo>
                  <a:cubicBezTo>
                    <a:pt x="80" y="64"/>
                    <a:pt x="78" y="73"/>
                    <a:pt x="74" y="80"/>
                  </a:cubicBezTo>
                  <a:cubicBezTo>
                    <a:pt x="74" y="80"/>
                    <a:pt x="74" y="80"/>
                    <a:pt x="74" y="80"/>
                  </a:cubicBezTo>
                  <a:cubicBezTo>
                    <a:pt x="73" y="83"/>
                    <a:pt x="71" y="86"/>
                    <a:pt x="69" y="89"/>
                  </a:cubicBezTo>
                  <a:cubicBezTo>
                    <a:pt x="51" y="117"/>
                    <a:pt x="51" y="134"/>
                    <a:pt x="51" y="134"/>
                  </a:cubicBezTo>
                  <a:cubicBezTo>
                    <a:pt x="0" y="134"/>
                    <a:pt x="0" y="134"/>
                    <a:pt x="0" y="134"/>
                  </a:cubicBez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7" name="Line 112">
              <a:extLst>
                <a:ext uri="{FF2B5EF4-FFF2-40B4-BE49-F238E27FC236}">
                  <a16:creationId xmlns:a16="http://schemas.microsoft.com/office/drawing/2014/main" id="{D154C792-6C2A-48BB-A4B8-9C2B13F38079}"/>
                </a:ext>
              </a:extLst>
            </p:cNvPr>
            <p:cNvSpPr>
              <a:spLocks noChangeShapeType="1"/>
            </p:cNvSpPr>
            <p:nvPr/>
          </p:nvSpPr>
          <p:spPr bwMode="auto">
            <a:xfrm>
              <a:off x="7673975" y="-142875"/>
              <a:ext cx="76200" cy="0"/>
            </a:xfrm>
            <a:prstGeom prst="line">
              <a:avLst/>
            </a:pr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8" name="Line 113">
              <a:extLst>
                <a:ext uri="{FF2B5EF4-FFF2-40B4-BE49-F238E27FC236}">
                  <a16:creationId xmlns:a16="http://schemas.microsoft.com/office/drawing/2014/main" id="{1733811E-0BE1-4ECA-BAA2-3C35CD7A30BD}"/>
                </a:ext>
              </a:extLst>
            </p:cNvPr>
            <p:cNvSpPr>
              <a:spLocks noChangeShapeType="1"/>
            </p:cNvSpPr>
            <p:nvPr/>
          </p:nvSpPr>
          <p:spPr bwMode="auto">
            <a:xfrm>
              <a:off x="7712075" y="-533400"/>
              <a:ext cx="0" cy="53975"/>
            </a:xfrm>
            <a:prstGeom prst="line">
              <a:avLst/>
            </a:pr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9" name="Line 114">
              <a:extLst>
                <a:ext uri="{FF2B5EF4-FFF2-40B4-BE49-F238E27FC236}">
                  <a16:creationId xmlns:a16="http://schemas.microsoft.com/office/drawing/2014/main" id="{C67FDC97-A0A1-4C99-921D-AB6B43FC3CCA}"/>
                </a:ext>
              </a:extLst>
            </p:cNvPr>
            <p:cNvSpPr>
              <a:spLocks noChangeShapeType="1"/>
            </p:cNvSpPr>
            <p:nvPr/>
          </p:nvSpPr>
          <p:spPr bwMode="auto">
            <a:xfrm>
              <a:off x="7608888" y="-506413"/>
              <a:ext cx="28575" cy="47625"/>
            </a:xfrm>
            <a:prstGeom prst="line">
              <a:avLst/>
            </a:pr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0" name="Line 115">
              <a:extLst>
                <a:ext uri="{FF2B5EF4-FFF2-40B4-BE49-F238E27FC236}">
                  <a16:creationId xmlns:a16="http://schemas.microsoft.com/office/drawing/2014/main" id="{CBD8FADB-52A6-44CF-9119-D3FF0CB5B7B0}"/>
                </a:ext>
              </a:extLst>
            </p:cNvPr>
            <p:cNvSpPr>
              <a:spLocks noChangeShapeType="1"/>
            </p:cNvSpPr>
            <p:nvPr/>
          </p:nvSpPr>
          <p:spPr bwMode="auto">
            <a:xfrm>
              <a:off x="7537450" y="-431800"/>
              <a:ext cx="47625" cy="25400"/>
            </a:xfrm>
            <a:prstGeom prst="line">
              <a:avLst/>
            </a:pr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1" name="Line 116">
              <a:extLst>
                <a:ext uri="{FF2B5EF4-FFF2-40B4-BE49-F238E27FC236}">
                  <a16:creationId xmlns:a16="http://schemas.microsoft.com/office/drawing/2014/main" id="{8ED3A5DE-6505-48E5-80DE-8B87D1517DE1}"/>
                </a:ext>
              </a:extLst>
            </p:cNvPr>
            <p:cNvSpPr>
              <a:spLocks noChangeShapeType="1"/>
            </p:cNvSpPr>
            <p:nvPr/>
          </p:nvSpPr>
          <p:spPr bwMode="auto">
            <a:xfrm>
              <a:off x="7513638" y="-339725"/>
              <a:ext cx="53975" cy="1588"/>
            </a:xfrm>
            <a:prstGeom prst="line">
              <a:avLst/>
            </a:pr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2" name="Oval 117">
              <a:extLst>
                <a:ext uri="{FF2B5EF4-FFF2-40B4-BE49-F238E27FC236}">
                  <a16:creationId xmlns:a16="http://schemas.microsoft.com/office/drawing/2014/main" id="{50A8C0D9-5CF6-4059-9D57-793FC4D6678D}"/>
                </a:ext>
              </a:extLst>
            </p:cNvPr>
            <p:cNvSpPr>
              <a:spLocks noChangeArrowheads="1"/>
            </p:cNvSpPr>
            <p:nvPr/>
          </p:nvSpPr>
          <p:spPr bwMode="auto">
            <a:xfrm>
              <a:off x="7888288" y="-495300"/>
              <a:ext cx="301625" cy="306388"/>
            </a:xfrm>
            <a:prstGeom prst="ellipse">
              <a:avLst/>
            </a:pr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3" name="Freeform 118">
              <a:extLst>
                <a:ext uri="{FF2B5EF4-FFF2-40B4-BE49-F238E27FC236}">
                  <a16:creationId xmlns:a16="http://schemas.microsoft.com/office/drawing/2014/main" id="{B5F97924-96C7-42F9-A2E2-F69463646C32}"/>
                </a:ext>
              </a:extLst>
            </p:cNvPr>
            <p:cNvSpPr>
              <a:spLocks/>
            </p:cNvSpPr>
            <p:nvPr/>
          </p:nvSpPr>
          <p:spPr bwMode="auto">
            <a:xfrm>
              <a:off x="7775575" y="-187325"/>
              <a:ext cx="528638" cy="300038"/>
            </a:xfrm>
            <a:custGeom>
              <a:avLst/>
              <a:gdLst>
                <a:gd name="T0" fmla="*/ 318 w 318"/>
                <a:gd name="T1" fmla="*/ 177 h 177"/>
                <a:gd name="T2" fmla="*/ 159 w 318"/>
                <a:gd name="T3" fmla="*/ 0 h 177"/>
                <a:gd name="T4" fmla="*/ 0 w 318"/>
                <a:gd name="T5" fmla="*/ 177 h 177"/>
              </a:gdLst>
              <a:ahLst/>
              <a:cxnLst>
                <a:cxn ang="0">
                  <a:pos x="T0" y="T1"/>
                </a:cxn>
                <a:cxn ang="0">
                  <a:pos x="T2" y="T3"/>
                </a:cxn>
                <a:cxn ang="0">
                  <a:pos x="T4" y="T5"/>
                </a:cxn>
              </a:cxnLst>
              <a:rect l="0" t="0" r="r" b="b"/>
              <a:pathLst>
                <a:path w="318" h="177">
                  <a:moveTo>
                    <a:pt x="318" y="177"/>
                  </a:moveTo>
                  <a:cubicBezTo>
                    <a:pt x="318" y="79"/>
                    <a:pt x="247" y="0"/>
                    <a:pt x="159" y="0"/>
                  </a:cubicBezTo>
                  <a:cubicBezTo>
                    <a:pt x="71" y="0"/>
                    <a:pt x="0" y="79"/>
                    <a:pt x="0" y="177"/>
                  </a:cubicBez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75" name="Rectangle 174">
            <a:extLst>
              <a:ext uri="{FF2B5EF4-FFF2-40B4-BE49-F238E27FC236}">
                <a16:creationId xmlns:a16="http://schemas.microsoft.com/office/drawing/2014/main" id="{92268EBF-2830-4B49-8639-7E2F0D7821A0}"/>
              </a:ext>
            </a:extLst>
          </p:cNvPr>
          <p:cNvSpPr/>
          <p:nvPr/>
        </p:nvSpPr>
        <p:spPr>
          <a:xfrm>
            <a:off x="8435256" y="3536696"/>
            <a:ext cx="1119087"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050"/>
                </a:solidFill>
                <a:effectLst/>
                <a:uLnTx/>
                <a:uFillTx/>
                <a:latin typeface="Segoe UI Semilight"/>
                <a:ea typeface="Segoe UI" pitchFamily="34" charset="0"/>
                <a:cs typeface="Segoe UI" pitchFamily="34" charset="0"/>
              </a:rPr>
              <a:t>Social</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050"/>
                </a:solidFill>
                <a:effectLst/>
                <a:uLnTx/>
                <a:uFillTx/>
                <a:latin typeface="Segoe UI Semilight"/>
                <a:ea typeface="Segoe UI" pitchFamily="34" charset="0"/>
                <a:cs typeface="Segoe UI" pitchFamily="34" charset="0"/>
              </a:rPr>
              <a:t>Insights</a:t>
            </a:r>
          </a:p>
        </p:txBody>
      </p:sp>
      <p:grpSp>
        <p:nvGrpSpPr>
          <p:cNvPr id="176" name="Group 175">
            <a:extLst>
              <a:ext uri="{FF2B5EF4-FFF2-40B4-BE49-F238E27FC236}">
                <a16:creationId xmlns:a16="http://schemas.microsoft.com/office/drawing/2014/main" id="{96CF3116-298C-4D9A-B422-EE85A866396E}"/>
              </a:ext>
            </a:extLst>
          </p:cNvPr>
          <p:cNvGrpSpPr/>
          <p:nvPr/>
        </p:nvGrpSpPr>
        <p:grpSpPr>
          <a:xfrm>
            <a:off x="8966097" y="3635401"/>
            <a:ext cx="307859" cy="311586"/>
            <a:chOff x="5310188" y="-673100"/>
            <a:chExt cx="655638" cy="663575"/>
          </a:xfrm>
          <a:noFill/>
        </p:grpSpPr>
        <p:sp>
          <p:nvSpPr>
            <p:cNvPr id="177" name="Freeform 122">
              <a:extLst>
                <a:ext uri="{FF2B5EF4-FFF2-40B4-BE49-F238E27FC236}">
                  <a16:creationId xmlns:a16="http://schemas.microsoft.com/office/drawing/2014/main" id="{1D39F514-356F-435E-B1E6-2AE5F2898D4D}"/>
                </a:ext>
              </a:extLst>
            </p:cNvPr>
            <p:cNvSpPr>
              <a:spLocks/>
            </p:cNvSpPr>
            <p:nvPr/>
          </p:nvSpPr>
          <p:spPr bwMode="auto">
            <a:xfrm>
              <a:off x="5508626" y="-250825"/>
              <a:ext cx="79375" cy="76200"/>
            </a:xfrm>
            <a:custGeom>
              <a:avLst/>
              <a:gdLst>
                <a:gd name="T0" fmla="*/ 12 w 76"/>
                <a:gd name="T1" fmla="*/ 72 h 72"/>
                <a:gd name="T2" fmla="*/ 0 w 76"/>
                <a:gd name="T3" fmla="*/ 42 h 72"/>
                <a:gd name="T4" fmla="*/ 42 w 76"/>
                <a:gd name="T5" fmla="*/ 0 h 72"/>
                <a:gd name="T6" fmla="*/ 76 w 76"/>
                <a:gd name="T7" fmla="*/ 17 h 72"/>
              </a:gdLst>
              <a:ahLst/>
              <a:cxnLst>
                <a:cxn ang="0">
                  <a:pos x="T0" y="T1"/>
                </a:cxn>
                <a:cxn ang="0">
                  <a:pos x="T2" y="T3"/>
                </a:cxn>
                <a:cxn ang="0">
                  <a:pos x="T4" y="T5"/>
                </a:cxn>
                <a:cxn ang="0">
                  <a:pos x="T6" y="T7"/>
                </a:cxn>
              </a:cxnLst>
              <a:rect l="0" t="0" r="r" b="b"/>
              <a:pathLst>
                <a:path w="76" h="72">
                  <a:moveTo>
                    <a:pt x="12" y="72"/>
                  </a:moveTo>
                  <a:cubicBezTo>
                    <a:pt x="4" y="64"/>
                    <a:pt x="0" y="54"/>
                    <a:pt x="0" y="42"/>
                  </a:cubicBezTo>
                  <a:cubicBezTo>
                    <a:pt x="0" y="19"/>
                    <a:pt x="19" y="0"/>
                    <a:pt x="42" y="0"/>
                  </a:cubicBezTo>
                  <a:cubicBezTo>
                    <a:pt x="56" y="0"/>
                    <a:pt x="68" y="7"/>
                    <a:pt x="76" y="17"/>
                  </a:cubicBezTo>
                </a:path>
              </a:pathLst>
            </a:cu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8" name="Line 123">
              <a:extLst>
                <a:ext uri="{FF2B5EF4-FFF2-40B4-BE49-F238E27FC236}">
                  <a16:creationId xmlns:a16="http://schemas.microsoft.com/office/drawing/2014/main" id="{DC671219-C359-4BB5-8B62-9BC8ABC08B3C}"/>
                </a:ext>
              </a:extLst>
            </p:cNvPr>
            <p:cNvSpPr>
              <a:spLocks noChangeShapeType="1"/>
            </p:cNvSpPr>
            <p:nvPr/>
          </p:nvSpPr>
          <p:spPr bwMode="auto">
            <a:xfrm>
              <a:off x="5588001" y="-469900"/>
              <a:ext cx="0" cy="0"/>
            </a:xfrm>
            <a:prstGeom prst="line">
              <a:avLst/>
            </a:pr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9" name="Freeform 124">
              <a:extLst>
                <a:ext uri="{FF2B5EF4-FFF2-40B4-BE49-F238E27FC236}">
                  <a16:creationId xmlns:a16="http://schemas.microsoft.com/office/drawing/2014/main" id="{3C36109A-2A76-4A2A-BFBC-DDD82569FFAF}"/>
                </a:ext>
              </a:extLst>
            </p:cNvPr>
            <p:cNvSpPr>
              <a:spLocks/>
            </p:cNvSpPr>
            <p:nvPr/>
          </p:nvSpPr>
          <p:spPr bwMode="auto">
            <a:xfrm>
              <a:off x="5688013" y="-400050"/>
              <a:ext cx="80963" cy="50800"/>
            </a:xfrm>
            <a:custGeom>
              <a:avLst/>
              <a:gdLst>
                <a:gd name="T0" fmla="*/ 0 w 78"/>
                <a:gd name="T1" fmla="*/ 21 h 48"/>
                <a:gd name="T2" fmla="*/ 36 w 78"/>
                <a:gd name="T3" fmla="*/ 0 h 48"/>
                <a:gd name="T4" fmla="*/ 78 w 78"/>
                <a:gd name="T5" fmla="*/ 43 h 48"/>
                <a:gd name="T6" fmla="*/ 78 w 78"/>
                <a:gd name="T7" fmla="*/ 47 h 48"/>
                <a:gd name="T8" fmla="*/ 78 w 78"/>
                <a:gd name="T9" fmla="*/ 48 h 48"/>
              </a:gdLst>
              <a:ahLst/>
              <a:cxnLst>
                <a:cxn ang="0">
                  <a:pos x="T0" y="T1"/>
                </a:cxn>
                <a:cxn ang="0">
                  <a:pos x="T2" y="T3"/>
                </a:cxn>
                <a:cxn ang="0">
                  <a:pos x="T4" y="T5"/>
                </a:cxn>
                <a:cxn ang="0">
                  <a:pos x="T6" y="T7"/>
                </a:cxn>
                <a:cxn ang="0">
                  <a:pos x="T8" y="T9"/>
                </a:cxn>
              </a:cxnLst>
              <a:rect l="0" t="0" r="r" b="b"/>
              <a:pathLst>
                <a:path w="78" h="48">
                  <a:moveTo>
                    <a:pt x="0" y="21"/>
                  </a:moveTo>
                  <a:cubicBezTo>
                    <a:pt x="8" y="8"/>
                    <a:pt x="21" y="0"/>
                    <a:pt x="36" y="0"/>
                  </a:cubicBezTo>
                  <a:cubicBezTo>
                    <a:pt x="59" y="0"/>
                    <a:pt x="78" y="19"/>
                    <a:pt x="78" y="43"/>
                  </a:cubicBezTo>
                  <a:cubicBezTo>
                    <a:pt x="78" y="44"/>
                    <a:pt x="78" y="45"/>
                    <a:pt x="78" y="47"/>
                  </a:cubicBezTo>
                  <a:cubicBezTo>
                    <a:pt x="78" y="47"/>
                    <a:pt x="78" y="47"/>
                    <a:pt x="78" y="48"/>
                  </a:cubicBezTo>
                </a:path>
              </a:pathLst>
            </a:cu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Freeform 125">
              <a:extLst>
                <a:ext uri="{FF2B5EF4-FFF2-40B4-BE49-F238E27FC236}">
                  <a16:creationId xmlns:a16="http://schemas.microsoft.com/office/drawing/2014/main" id="{E17AEE1F-DD6C-492B-A5BF-73A8CF42222D}"/>
                </a:ext>
              </a:extLst>
            </p:cNvPr>
            <p:cNvSpPr>
              <a:spLocks/>
            </p:cNvSpPr>
            <p:nvPr/>
          </p:nvSpPr>
          <p:spPr bwMode="auto">
            <a:xfrm>
              <a:off x="5768976" y="-374650"/>
              <a:ext cx="84138" cy="42863"/>
            </a:xfrm>
            <a:custGeom>
              <a:avLst/>
              <a:gdLst>
                <a:gd name="T0" fmla="*/ 0 w 80"/>
                <a:gd name="T1" fmla="*/ 24 h 41"/>
                <a:gd name="T2" fmla="*/ 0 w 80"/>
                <a:gd name="T3" fmla="*/ 23 h 41"/>
                <a:gd name="T4" fmla="*/ 38 w 80"/>
                <a:gd name="T5" fmla="*/ 0 h 41"/>
                <a:gd name="T6" fmla="*/ 80 w 80"/>
                <a:gd name="T7" fmla="*/ 41 h 41"/>
              </a:gdLst>
              <a:ahLst/>
              <a:cxnLst>
                <a:cxn ang="0">
                  <a:pos x="T0" y="T1"/>
                </a:cxn>
                <a:cxn ang="0">
                  <a:pos x="T2" y="T3"/>
                </a:cxn>
                <a:cxn ang="0">
                  <a:pos x="T4" y="T5"/>
                </a:cxn>
                <a:cxn ang="0">
                  <a:pos x="T6" y="T7"/>
                </a:cxn>
              </a:cxnLst>
              <a:rect l="0" t="0" r="r" b="b"/>
              <a:pathLst>
                <a:path w="80" h="41">
                  <a:moveTo>
                    <a:pt x="0" y="24"/>
                  </a:moveTo>
                  <a:cubicBezTo>
                    <a:pt x="0" y="23"/>
                    <a:pt x="0" y="23"/>
                    <a:pt x="0" y="23"/>
                  </a:cubicBezTo>
                  <a:cubicBezTo>
                    <a:pt x="7" y="9"/>
                    <a:pt x="22" y="0"/>
                    <a:pt x="38" y="0"/>
                  </a:cubicBezTo>
                  <a:cubicBezTo>
                    <a:pt x="61" y="0"/>
                    <a:pt x="80" y="18"/>
                    <a:pt x="80" y="41"/>
                  </a:cubicBezTo>
                </a:path>
              </a:pathLst>
            </a:cu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1" name="Line 126">
              <a:extLst>
                <a:ext uri="{FF2B5EF4-FFF2-40B4-BE49-F238E27FC236}">
                  <a16:creationId xmlns:a16="http://schemas.microsoft.com/office/drawing/2014/main" id="{D0521D49-0943-4B5A-BB5E-FA28DAA46C1D}"/>
                </a:ext>
              </a:extLst>
            </p:cNvPr>
            <p:cNvSpPr>
              <a:spLocks noChangeShapeType="1"/>
            </p:cNvSpPr>
            <p:nvPr/>
          </p:nvSpPr>
          <p:spPr bwMode="auto">
            <a:xfrm>
              <a:off x="5853113" y="-331788"/>
              <a:ext cx="3175" cy="0"/>
            </a:xfrm>
            <a:prstGeom prst="line">
              <a:avLst/>
            </a:pr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2" name="Freeform 127">
              <a:extLst>
                <a:ext uri="{FF2B5EF4-FFF2-40B4-BE49-F238E27FC236}">
                  <a16:creationId xmlns:a16="http://schemas.microsoft.com/office/drawing/2014/main" id="{380A6343-2CCF-44DF-B131-7248590BDA65}"/>
                </a:ext>
              </a:extLst>
            </p:cNvPr>
            <p:cNvSpPr>
              <a:spLocks/>
            </p:cNvSpPr>
            <p:nvPr/>
          </p:nvSpPr>
          <p:spPr bwMode="auto">
            <a:xfrm>
              <a:off x="5651501" y="-350838"/>
              <a:ext cx="314325" cy="341313"/>
            </a:xfrm>
            <a:custGeom>
              <a:avLst/>
              <a:gdLst>
                <a:gd name="T0" fmla="*/ 197 w 302"/>
                <a:gd name="T1" fmla="*/ 17 h 322"/>
                <a:gd name="T2" fmla="*/ 231 w 302"/>
                <a:gd name="T3" fmla="*/ 0 h 322"/>
                <a:gd name="T4" fmla="*/ 272 w 302"/>
                <a:gd name="T5" fmla="*/ 34 h 322"/>
                <a:gd name="T6" fmla="*/ 283 w 302"/>
                <a:gd name="T7" fmla="*/ 109 h 322"/>
                <a:gd name="T8" fmla="*/ 297 w 302"/>
                <a:gd name="T9" fmla="*/ 217 h 322"/>
                <a:gd name="T10" fmla="*/ 236 w 302"/>
                <a:gd name="T11" fmla="*/ 297 h 322"/>
                <a:gd name="T12" fmla="*/ 65 w 302"/>
                <a:gd name="T13" fmla="*/ 319 h 322"/>
                <a:gd name="T14" fmla="*/ 0 w 302"/>
                <a:gd name="T15" fmla="*/ 291 h 3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 h="322">
                  <a:moveTo>
                    <a:pt x="197" y="17"/>
                  </a:moveTo>
                  <a:cubicBezTo>
                    <a:pt x="204" y="7"/>
                    <a:pt x="217" y="0"/>
                    <a:pt x="231" y="0"/>
                  </a:cubicBezTo>
                  <a:cubicBezTo>
                    <a:pt x="252" y="0"/>
                    <a:pt x="269" y="15"/>
                    <a:pt x="272" y="34"/>
                  </a:cubicBezTo>
                  <a:cubicBezTo>
                    <a:pt x="283" y="109"/>
                    <a:pt x="283" y="109"/>
                    <a:pt x="283" y="109"/>
                  </a:cubicBezTo>
                  <a:cubicBezTo>
                    <a:pt x="297" y="217"/>
                    <a:pt x="297" y="217"/>
                    <a:pt x="297" y="217"/>
                  </a:cubicBezTo>
                  <a:cubicBezTo>
                    <a:pt x="302" y="256"/>
                    <a:pt x="274" y="292"/>
                    <a:pt x="236" y="297"/>
                  </a:cubicBezTo>
                  <a:cubicBezTo>
                    <a:pt x="65" y="319"/>
                    <a:pt x="65" y="319"/>
                    <a:pt x="65" y="319"/>
                  </a:cubicBezTo>
                  <a:cubicBezTo>
                    <a:pt x="39" y="322"/>
                    <a:pt x="15" y="311"/>
                    <a:pt x="0" y="291"/>
                  </a:cubicBezTo>
                </a:path>
              </a:pathLst>
            </a:cu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3" name="Freeform 128">
              <a:extLst>
                <a:ext uri="{FF2B5EF4-FFF2-40B4-BE49-F238E27FC236}">
                  <a16:creationId xmlns:a16="http://schemas.microsoft.com/office/drawing/2014/main" id="{B13EF1FF-231D-419C-A314-C934E8DE02E7}"/>
                </a:ext>
              </a:extLst>
            </p:cNvPr>
            <p:cNvSpPr>
              <a:spLocks/>
            </p:cNvSpPr>
            <p:nvPr/>
          </p:nvSpPr>
          <p:spPr bwMode="auto">
            <a:xfrm>
              <a:off x="5586413" y="-522288"/>
              <a:ext cx="101600" cy="323850"/>
            </a:xfrm>
            <a:custGeom>
              <a:avLst/>
              <a:gdLst>
                <a:gd name="T0" fmla="*/ 33 w 97"/>
                <a:gd name="T1" fmla="*/ 306 h 306"/>
                <a:gd name="T2" fmla="*/ 30 w 97"/>
                <a:gd name="T3" fmla="*/ 281 h 306"/>
                <a:gd name="T4" fmla="*/ 1 w 97"/>
                <a:gd name="T5" fmla="*/ 50 h 306"/>
                <a:gd name="T6" fmla="*/ 0 w 97"/>
                <a:gd name="T7" fmla="*/ 42 h 306"/>
                <a:gd name="T8" fmla="*/ 42 w 97"/>
                <a:gd name="T9" fmla="*/ 0 h 306"/>
                <a:gd name="T10" fmla="*/ 83 w 97"/>
                <a:gd name="T11" fmla="*/ 33 h 306"/>
                <a:gd name="T12" fmla="*/ 83 w 97"/>
                <a:gd name="T13" fmla="*/ 31 h 306"/>
                <a:gd name="T14" fmla="*/ 97 w 97"/>
                <a:gd name="T15" fmla="*/ 137 h 3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306">
                  <a:moveTo>
                    <a:pt x="33" y="306"/>
                  </a:moveTo>
                  <a:cubicBezTo>
                    <a:pt x="30" y="281"/>
                    <a:pt x="30" y="281"/>
                    <a:pt x="30" y="281"/>
                  </a:cubicBezTo>
                  <a:cubicBezTo>
                    <a:pt x="1" y="50"/>
                    <a:pt x="1" y="50"/>
                    <a:pt x="1" y="50"/>
                  </a:cubicBezTo>
                  <a:cubicBezTo>
                    <a:pt x="0" y="42"/>
                    <a:pt x="0" y="42"/>
                    <a:pt x="0" y="42"/>
                  </a:cubicBezTo>
                  <a:cubicBezTo>
                    <a:pt x="0" y="19"/>
                    <a:pt x="19" y="0"/>
                    <a:pt x="42" y="0"/>
                  </a:cubicBezTo>
                  <a:cubicBezTo>
                    <a:pt x="62" y="0"/>
                    <a:pt x="79" y="14"/>
                    <a:pt x="83" y="33"/>
                  </a:cubicBezTo>
                  <a:cubicBezTo>
                    <a:pt x="83" y="31"/>
                    <a:pt x="83" y="31"/>
                    <a:pt x="83" y="31"/>
                  </a:cubicBezTo>
                  <a:cubicBezTo>
                    <a:pt x="97" y="137"/>
                    <a:pt x="97" y="137"/>
                    <a:pt x="97" y="137"/>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4" name="Line 129">
              <a:extLst>
                <a:ext uri="{FF2B5EF4-FFF2-40B4-BE49-F238E27FC236}">
                  <a16:creationId xmlns:a16="http://schemas.microsoft.com/office/drawing/2014/main" id="{72EDC8AE-8AEF-4241-A78E-ACF6456E3FF1}"/>
                </a:ext>
              </a:extLst>
            </p:cNvPr>
            <p:cNvSpPr>
              <a:spLocks noChangeShapeType="1"/>
            </p:cNvSpPr>
            <p:nvPr/>
          </p:nvSpPr>
          <p:spPr bwMode="auto">
            <a:xfrm>
              <a:off x="5588001" y="-233363"/>
              <a:ext cx="33338" cy="34925"/>
            </a:xfrm>
            <a:prstGeom prst="line">
              <a:avLst/>
            </a:pr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5" name="Line 130">
              <a:extLst>
                <a:ext uri="{FF2B5EF4-FFF2-40B4-BE49-F238E27FC236}">
                  <a16:creationId xmlns:a16="http://schemas.microsoft.com/office/drawing/2014/main" id="{D4BD4FD2-4205-4609-8F10-AF6011C84DEA}"/>
                </a:ext>
              </a:extLst>
            </p:cNvPr>
            <p:cNvSpPr>
              <a:spLocks noChangeShapeType="1"/>
            </p:cNvSpPr>
            <p:nvPr/>
          </p:nvSpPr>
          <p:spPr bwMode="auto">
            <a:xfrm flipH="1" flipV="1">
              <a:off x="5521326" y="-174625"/>
              <a:ext cx="130175" cy="131763"/>
            </a:xfrm>
            <a:prstGeom prst="line">
              <a:avLst/>
            </a:pr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Freeform 131">
              <a:extLst>
                <a:ext uri="{FF2B5EF4-FFF2-40B4-BE49-F238E27FC236}">
                  <a16:creationId xmlns:a16="http://schemas.microsoft.com/office/drawing/2014/main" id="{7F9325ED-DA85-4AB1-954D-59C0FC3A1BB2}"/>
                </a:ext>
              </a:extLst>
            </p:cNvPr>
            <p:cNvSpPr>
              <a:spLocks/>
            </p:cNvSpPr>
            <p:nvPr/>
          </p:nvSpPr>
          <p:spPr bwMode="auto">
            <a:xfrm>
              <a:off x="5310188" y="-673100"/>
              <a:ext cx="584200" cy="388938"/>
            </a:xfrm>
            <a:custGeom>
              <a:avLst/>
              <a:gdLst>
                <a:gd name="T0" fmla="*/ 288 w 560"/>
                <a:gd name="T1" fmla="*/ 368 h 368"/>
                <a:gd name="T2" fmla="*/ 48 w 560"/>
                <a:gd name="T3" fmla="*/ 368 h 368"/>
                <a:gd name="T4" fmla="*/ 0 w 560"/>
                <a:gd name="T5" fmla="*/ 320 h 368"/>
                <a:gd name="T6" fmla="*/ 0 w 560"/>
                <a:gd name="T7" fmla="*/ 48 h 368"/>
                <a:gd name="T8" fmla="*/ 48 w 560"/>
                <a:gd name="T9" fmla="*/ 0 h 368"/>
                <a:gd name="T10" fmla="*/ 512 w 560"/>
                <a:gd name="T11" fmla="*/ 0 h 368"/>
                <a:gd name="T12" fmla="*/ 560 w 560"/>
                <a:gd name="T13" fmla="*/ 48 h 368"/>
                <a:gd name="T14" fmla="*/ 560 w 560"/>
                <a:gd name="T15" fmla="*/ 303 h 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0" h="368">
                  <a:moveTo>
                    <a:pt x="288" y="368"/>
                  </a:moveTo>
                  <a:cubicBezTo>
                    <a:pt x="48" y="368"/>
                    <a:pt x="48" y="368"/>
                    <a:pt x="48" y="368"/>
                  </a:cubicBezTo>
                  <a:cubicBezTo>
                    <a:pt x="22" y="368"/>
                    <a:pt x="0" y="346"/>
                    <a:pt x="0" y="320"/>
                  </a:cubicBezTo>
                  <a:cubicBezTo>
                    <a:pt x="0" y="48"/>
                    <a:pt x="0" y="48"/>
                    <a:pt x="0" y="48"/>
                  </a:cubicBezTo>
                  <a:cubicBezTo>
                    <a:pt x="0" y="22"/>
                    <a:pt x="22" y="0"/>
                    <a:pt x="48" y="0"/>
                  </a:cubicBezTo>
                  <a:cubicBezTo>
                    <a:pt x="512" y="0"/>
                    <a:pt x="512" y="0"/>
                    <a:pt x="512" y="0"/>
                  </a:cubicBezTo>
                  <a:cubicBezTo>
                    <a:pt x="538" y="0"/>
                    <a:pt x="560" y="22"/>
                    <a:pt x="560" y="48"/>
                  </a:cubicBezTo>
                  <a:cubicBezTo>
                    <a:pt x="560" y="303"/>
                    <a:pt x="560" y="303"/>
                    <a:pt x="560" y="303"/>
                  </a:cubicBezTo>
                </a:path>
              </a:pathLst>
            </a:cu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7" name="Line 133">
              <a:extLst>
                <a:ext uri="{FF2B5EF4-FFF2-40B4-BE49-F238E27FC236}">
                  <a16:creationId xmlns:a16="http://schemas.microsoft.com/office/drawing/2014/main" id="{9B010936-94ED-4F86-AA2F-A2913921CEF9}"/>
                </a:ext>
              </a:extLst>
            </p:cNvPr>
            <p:cNvSpPr>
              <a:spLocks noChangeShapeType="1"/>
            </p:cNvSpPr>
            <p:nvPr/>
          </p:nvSpPr>
          <p:spPr bwMode="auto">
            <a:xfrm>
              <a:off x="5588001" y="-469900"/>
              <a:ext cx="0" cy="0"/>
            </a:xfrm>
            <a:prstGeom prst="line">
              <a:avLst/>
            </a:pr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8" name="Line 136">
              <a:extLst>
                <a:ext uri="{FF2B5EF4-FFF2-40B4-BE49-F238E27FC236}">
                  <a16:creationId xmlns:a16="http://schemas.microsoft.com/office/drawing/2014/main" id="{CD3C9E5A-8B12-483A-B0CA-D87BDEF5412E}"/>
                </a:ext>
              </a:extLst>
            </p:cNvPr>
            <p:cNvSpPr>
              <a:spLocks noChangeShapeType="1"/>
            </p:cNvSpPr>
            <p:nvPr/>
          </p:nvSpPr>
          <p:spPr bwMode="auto">
            <a:xfrm>
              <a:off x="5853113" y="-331788"/>
              <a:ext cx="3175" cy="0"/>
            </a:xfrm>
            <a:prstGeom prst="line">
              <a:avLst/>
            </a:pr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90" name="Rectangle 189">
            <a:extLst>
              <a:ext uri="{FF2B5EF4-FFF2-40B4-BE49-F238E27FC236}">
                <a16:creationId xmlns:a16="http://schemas.microsoft.com/office/drawing/2014/main" id="{08E92101-EF7B-4E4E-B73B-7BFE50B27D65}"/>
              </a:ext>
            </a:extLst>
          </p:cNvPr>
          <p:cNvSpPr/>
          <p:nvPr/>
        </p:nvSpPr>
        <p:spPr>
          <a:xfrm>
            <a:off x="9041095" y="2339669"/>
            <a:ext cx="1228336"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050"/>
                </a:solidFill>
                <a:effectLst/>
                <a:uLnTx/>
                <a:uFillTx/>
                <a:latin typeface="Segoe UI Semilight"/>
                <a:ea typeface="Segoe UI" pitchFamily="34" charset="0"/>
                <a:cs typeface="Segoe UI" pitchFamily="34" charset="0"/>
              </a:rPr>
              <a:t>Targeted Campaigns/Offers</a:t>
            </a:r>
          </a:p>
        </p:txBody>
      </p:sp>
      <p:grpSp>
        <p:nvGrpSpPr>
          <p:cNvPr id="191" name="Group 190">
            <a:extLst>
              <a:ext uri="{FF2B5EF4-FFF2-40B4-BE49-F238E27FC236}">
                <a16:creationId xmlns:a16="http://schemas.microsoft.com/office/drawing/2014/main" id="{48198C63-FBD7-422E-8D67-AFF9F46AE5B0}"/>
              </a:ext>
            </a:extLst>
          </p:cNvPr>
          <p:cNvGrpSpPr/>
          <p:nvPr/>
        </p:nvGrpSpPr>
        <p:grpSpPr>
          <a:xfrm>
            <a:off x="9545478" y="2011948"/>
            <a:ext cx="292219" cy="373914"/>
            <a:chOff x="7246938" y="-339726"/>
            <a:chExt cx="295276" cy="377826"/>
          </a:xfrm>
          <a:solidFill>
            <a:schemeClr val="accent2"/>
          </a:solidFill>
        </p:grpSpPr>
        <p:sp>
          <p:nvSpPr>
            <p:cNvPr id="192" name="Freeform 17">
              <a:extLst>
                <a:ext uri="{FF2B5EF4-FFF2-40B4-BE49-F238E27FC236}">
                  <a16:creationId xmlns:a16="http://schemas.microsoft.com/office/drawing/2014/main" id="{B0475235-D3B9-4D19-9206-9C634C61DCB6}"/>
                </a:ext>
              </a:extLst>
            </p:cNvPr>
            <p:cNvSpPr>
              <a:spLocks/>
            </p:cNvSpPr>
            <p:nvPr/>
          </p:nvSpPr>
          <p:spPr bwMode="auto">
            <a:xfrm>
              <a:off x="7372351" y="-339726"/>
              <a:ext cx="136525" cy="63500"/>
            </a:xfrm>
            <a:custGeom>
              <a:avLst/>
              <a:gdLst>
                <a:gd name="T0" fmla="*/ 152 w 163"/>
                <a:gd name="T1" fmla="*/ 76 h 76"/>
                <a:gd name="T2" fmla="*/ 2 w 163"/>
                <a:gd name="T3" fmla="*/ 27 h 76"/>
                <a:gd name="T4" fmla="*/ 0 w 163"/>
                <a:gd name="T5" fmla="*/ 13 h 76"/>
                <a:gd name="T6" fmla="*/ 163 w 163"/>
                <a:gd name="T7" fmla="*/ 67 h 76"/>
                <a:gd name="T8" fmla="*/ 152 w 163"/>
                <a:gd name="T9" fmla="*/ 76 h 76"/>
                <a:gd name="T10" fmla="*/ 158 w 163"/>
                <a:gd name="T11" fmla="*/ 71 h 76"/>
                <a:gd name="T12" fmla="*/ 152 w 163"/>
                <a:gd name="T13" fmla="*/ 76 h 76"/>
              </a:gdLst>
              <a:ahLst/>
              <a:cxnLst>
                <a:cxn ang="0">
                  <a:pos x="T0" y="T1"/>
                </a:cxn>
                <a:cxn ang="0">
                  <a:pos x="T2" y="T3"/>
                </a:cxn>
                <a:cxn ang="0">
                  <a:pos x="T4" y="T5"/>
                </a:cxn>
                <a:cxn ang="0">
                  <a:pos x="T6" y="T7"/>
                </a:cxn>
                <a:cxn ang="0">
                  <a:pos x="T8" y="T9"/>
                </a:cxn>
                <a:cxn ang="0">
                  <a:pos x="T10" y="T11"/>
                </a:cxn>
                <a:cxn ang="0">
                  <a:pos x="T12" y="T13"/>
                </a:cxn>
              </a:cxnLst>
              <a:rect l="0" t="0" r="r" b="b"/>
              <a:pathLst>
                <a:path w="163" h="76">
                  <a:moveTo>
                    <a:pt x="152" y="76"/>
                  </a:moveTo>
                  <a:cubicBezTo>
                    <a:pt x="152" y="75"/>
                    <a:pt x="101" y="14"/>
                    <a:pt x="2" y="27"/>
                  </a:cubicBezTo>
                  <a:cubicBezTo>
                    <a:pt x="0" y="13"/>
                    <a:pt x="0" y="13"/>
                    <a:pt x="0" y="13"/>
                  </a:cubicBezTo>
                  <a:cubicBezTo>
                    <a:pt x="107" y="0"/>
                    <a:pt x="161" y="64"/>
                    <a:pt x="163" y="67"/>
                  </a:cubicBezTo>
                  <a:cubicBezTo>
                    <a:pt x="152" y="76"/>
                    <a:pt x="152" y="76"/>
                    <a:pt x="152" y="76"/>
                  </a:cubicBezTo>
                  <a:cubicBezTo>
                    <a:pt x="158" y="71"/>
                    <a:pt x="158" y="71"/>
                    <a:pt x="158" y="71"/>
                  </a:cubicBezTo>
                  <a:lnTo>
                    <a:pt x="152" y="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3" name="Freeform 18">
              <a:extLst>
                <a:ext uri="{FF2B5EF4-FFF2-40B4-BE49-F238E27FC236}">
                  <a16:creationId xmlns:a16="http://schemas.microsoft.com/office/drawing/2014/main" id="{8ECC39D8-735D-4102-A26C-B7D5D0CE8895}"/>
                </a:ext>
              </a:extLst>
            </p:cNvPr>
            <p:cNvSpPr>
              <a:spLocks/>
            </p:cNvSpPr>
            <p:nvPr/>
          </p:nvSpPr>
          <p:spPr bwMode="auto">
            <a:xfrm>
              <a:off x="7321551" y="-312738"/>
              <a:ext cx="220663" cy="139700"/>
            </a:xfrm>
            <a:custGeom>
              <a:avLst/>
              <a:gdLst>
                <a:gd name="T0" fmla="*/ 253 w 265"/>
                <a:gd name="T1" fmla="*/ 165 h 165"/>
                <a:gd name="T2" fmla="*/ 4 w 265"/>
                <a:gd name="T3" fmla="*/ 50 h 165"/>
                <a:gd name="T4" fmla="*/ 0 w 265"/>
                <a:gd name="T5" fmla="*/ 37 h 165"/>
                <a:gd name="T6" fmla="*/ 265 w 265"/>
                <a:gd name="T7" fmla="*/ 159 h 165"/>
                <a:gd name="T8" fmla="*/ 253 w 265"/>
                <a:gd name="T9" fmla="*/ 165 h 165"/>
              </a:gdLst>
              <a:ahLst/>
              <a:cxnLst>
                <a:cxn ang="0">
                  <a:pos x="T0" y="T1"/>
                </a:cxn>
                <a:cxn ang="0">
                  <a:pos x="T2" y="T3"/>
                </a:cxn>
                <a:cxn ang="0">
                  <a:pos x="T4" y="T5"/>
                </a:cxn>
                <a:cxn ang="0">
                  <a:pos x="T6" y="T7"/>
                </a:cxn>
                <a:cxn ang="0">
                  <a:pos x="T8" y="T9"/>
                </a:cxn>
              </a:cxnLst>
              <a:rect l="0" t="0" r="r" b="b"/>
              <a:pathLst>
                <a:path w="265" h="165">
                  <a:moveTo>
                    <a:pt x="253" y="165"/>
                  </a:moveTo>
                  <a:cubicBezTo>
                    <a:pt x="202" y="52"/>
                    <a:pt x="121" y="15"/>
                    <a:pt x="4" y="50"/>
                  </a:cubicBezTo>
                  <a:cubicBezTo>
                    <a:pt x="0" y="37"/>
                    <a:pt x="0" y="37"/>
                    <a:pt x="0" y="37"/>
                  </a:cubicBezTo>
                  <a:cubicBezTo>
                    <a:pt x="123" y="0"/>
                    <a:pt x="212" y="41"/>
                    <a:pt x="265" y="159"/>
                  </a:cubicBezTo>
                  <a:lnTo>
                    <a:pt x="253" y="1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4" name="Freeform 19">
              <a:extLst>
                <a:ext uri="{FF2B5EF4-FFF2-40B4-BE49-F238E27FC236}">
                  <a16:creationId xmlns:a16="http://schemas.microsoft.com/office/drawing/2014/main" id="{33B8743E-5694-49DC-BCE7-3B61521CC62A}"/>
                </a:ext>
              </a:extLst>
            </p:cNvPr>
            <p:cNvSpPr>
              <a:spLocks/>
            </p:cNvSpPr>
            <p:nvPr/>
          </p:nvSpPr>
          <p:spPr bwMode="auto">
            <a:xfrm>
              <a:off x="7272338" y="-276225"/>
              <a:ext cx="268288" cy="268288"/>
            </a:xfrm>
            <a:custGeom>
              <a:avLst/>
              <a:gdLst>
                <a:gd name="T0" fmla="*/ 259 w 322"/>
                <a:gd name="T1" fmla="*/ 316 h 316"/>
                <a:gd name="T2" fmla="*/ 247 w 322"/>
                <a:gd name="T3" fmla="*/ 309 h 316"/>
                <a:gd name="T4" fmla="*/ 229 w 322"/>
                <a:gd name="T5" fmla="*/ 76 h 316"/>
                <a:gd name="T6" fmla="*/ 8 w 322"/>
                <a:gd name="T7" fmla="*/ 81 h 316"/>
                <a:gd name="T8" fmla="*/ 0 w 322"/>
                <a:gd name="T9" fmla="*/ 70 h 316"/>
                <a:gd name="T10" fmla="*/ 238 w 322"/>
                <a:gd name="T11" fmla="*/ 65 h 316"/>
                <a:gd name="T12" fmla="*/ 259 w 322"/>
                <a:gd name="T13" fmla="*/ 316 h 316"/>
              </a:gdLst>
              <a:ahLst/>
              <a:cxnLst>
                <a:cxn ang="0">
                  <a:pos x="T0" y="T1"/>
                </a:cxn>
                <a:cxn ang="0">
                  <a:pos x="T2" y="T3"/>
                </a:cxn>
                <a:cxn ang="0">
                  <a:pos x="T4" y="T5"/>
                </a:cxn>
                <a:cxn ang="0">
                  <a:pos x="T6" y="T7"/>
                </a:cxn>
                <a:cxn ang="0">
                  <a:pos x="T8" y="T9"/>
                </a:cxn>
                <a:cxn ang="0">
                  <a:pos x="T10" y="T11"/>
                </a:cxn>
                <a:cxn ang="0">
                  <a:pos x="T12" y="T13"/>
                </a:cxn>
              </a:cxnLst>
              <a:rect l="0" t="0" r="r" b="b"/>
              <a:pathLst>
                <a:path w="322" h="316">
                  <a:moveTo>
                    <a:pt x="259" y="316"/>
                  </a:moveTo>
                  <a:cubicBezTo>
                    <a:pt x="247" y="309"/>
                    <a:pt x="247" y="309"/>
                    <a:pt x="247" y="309"/>
                  </a:cubicBezTo>
                  <a:cubicBezTo>
                    <a:pt x="310" y="204"/>
                    <a:pt x="276" y="118"/>
                    <a:pt x="229" y="76"/>
                  </a:cubicBezTo>
                  <a:cubicBezTo>
                    <a:pt x="183" y="35"/>
                    <a:pt x="98" y="12"/>
                    <a:pt x="8" y="81"/>
                  </a:cubicBezTo>
                  <a:cubicBezTo>
                    <a:pt x="0" y="70"/>
                    <a:pt x="0" y="70"/>
                    <a:pt x="0" y="70"/>
                  </a:cubicBezTo>
                  <a:cubicBezTo>
                    <a:pt x="90" y="0"/>
                    <a:pt x="185" y="17"/>
                    <a:pt x="238" y="65"/>
                  </a:cubicBezTo>
                  <a:cubicBezTo>
                    <a:pt x="294" y="115"/>
                    <a:pt x="322" y="211"/>
                    <a:pt x="259" y="3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20">
              <a:extLst>
                <a:ext uri="{FF2B5EF4-FFF2-40B4-BE49-F238E27FC236}">
                  <a16:creationId xmlns:a16="http://schemas.microsoft.com/office/drawing/2014/main" id="{B4AEFE20-D98A-4881-8540-D03EFF107B7C}"/>
                </a:ext>
              </a:extLst>
            </p:cNvPr>
            <p:cNvSpPr>
              <a:spLocks/>
            </p:cNvSpPr>
            <p:nvPr/>
          </p:nvSpPr>
          <p:spPr bwMode="auto">
            <a:xfrm>
              <a:off x="7251701" y="-227013"/>
              <a:ext cx="239713" cy="265113"/>
            </a:xfrm>
            <a:custGeom>
              <a:avLst/>
              <a:gdLst>
                <a:gd name="T0" fmla="*/ 172 w 289"/>
                <a:gd name="T1" fmla="*/ 314 h 314"/>
                <a:gd name="T2" fmla="*/ 163 w 289"/>
                <a:gd name="T3" fmla="*/ 304 h 314"/>
                <a:gd name="T4" fmla="*/ 259 w 289"/>
                <a:gd name="T5" fmla="*/ 105 h 314"/>
                <a:gd name="T6" fmla="*/ 171 w 289"/>
                <a:gd name="T7" fmla="*/ 24 h 314"/>
                <a:gd name="T8" fmla="*/ 12 w 289"/>
                <a:gd name="T9" fmla="*/ 117 h 314"/>
                <a:gd name="T10" fmla="*/ 0 w 289"/>
                <a:gd name="T11" fmla="*/ 109 h 314"/>
                <a:gd name="T12" fmla="*/ 173 w 289"/>
                <a:gd name="T13" fmla="*/ 10 h 314"/>
                <a:gd name="T14" fmla="*/ 272 w 289"/>
                <a:gd name="T15" fmla="*/ 101 h 314"/>
                <a:gd name="T16" fmla="*/ 172 w 289"/>
                <a:gd name="T17"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314">
                  <a:moveTo>
                    <a:pt x="172" y="314"/>
                  </a:moveTo>
                  <a:cubicBezTo>
                    <a:pt x="163" y="304"/>
                    <a:pt x="163" y="304"/>
                    <a:pt x="163" y="304"/>
                  </a:cubicBezTo>
                  <a:cubicBezTo>
                    <a:pt x="273" y="216"/>
                    <a:pt x="267" y="135"/>
                    <a:pt x="259" y="105"/>
                  </a:cubicBezTo>
                  <a:cubicBezTo>
                    <a:pt x="247" y="62"/>
                    <a:pt x="214" y="31"/>
                    <a:pt x="171" y="24"/>
                  </a:cubicBezTo>
                  <a:cubicBezTo>
                    <a:pt x="114" y="14"/>
                    <a:pt x="56" y="48"/>
                    <a:pt x="12" y="117"/>
                  </a:cubicBezTo>
                  <a:cubicBezTo>
                    <a:pt x="0" y="109"/>
                    <a:pt x="0" y="109"/>
                    <a:pt x="0" y="109"/>
                  </a:cubicBezTo>
                  <a:cubicBezTo>
                    <a:pt x="48" y="36"/>
                    <a:pt x="111" y="0"/>
                    <a:pt x="173" y="10"/>
                  </a:cubicBezTo>
                  <a:cubicBezTo>
                    <a:pt x="222" y="18"/>
                    <a:pt x="260" y="53"/>
                    <a:pt x="272" y="101"/>
                  </a:cubicBezTo>
                  <a:cubicBezTo>
                    <a:pt x="281" y="134"/>
                    <a:pt x="289" y="221"/>
                    <a:pt x="172" y="3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Freeform 21">
              <a:extLst>
                <a:ext uri="{FF2B5EF4-FFF2-40B4-BE49-F238E27FC236}">
                  <a16:creationId xmlns:a16="http://schemas.microsoft.com/office/drawing/2014/main" id="{2A134BCC-D668-4687-A8B2-19EFC6164EB7}"/>
                </a:ext>
              </a:extLst>
            </p:cNvPr>
            <p:cNvSpPr>
              <a:spLocks/>
            </p:cNvSpPr>
            <p:nvPr/>
          </p:nvSpPr>
          <p:spPr bwMode="auto">
            <a:xfrm>
              <a:off x="7246938" y="-192088"/>
              <a:ext cx="207963" cy="228601"/>
            </a:xfrm>
            <a:custGeom>
              <a:avLst/>
              <a:gdLst>
                <a:gd name="T0" fmla="*/ 101 w 249"/>
                <a:gd name="T1" fmla="*/ 269 h 269"/>
                <a:gd name="T2" fmla="*/ 94 w 249"/>
                <a:gd name="T3" fmla="*/ 257 h 269"/>
                <a:gd name="T4" fmla="*/ 231 w 249"/>
                <a:gd name="T5" fmla="*/ 85 h 269"/>
                <a:gd name="T6" fmla="*/ 175 w 249"/>
                <a:gd name="T7" fmla="*/ 26 h 269"/>
                <a:gd name="T8" fmla="*/ 82 w 249"/>
                <a:gd name="T9" fmla="*/ 69 h 269"/>
                <a:gd name="T10" fmla="*/ 2 w 249"/>
                <a:gd name="T11" fmla="*/ 122 h 269"/>
                <a:gd name="T12" fmla="*/ 0 w 249"/>
                <a:gd name="T13" fmla="*/ 108 h 269"/>
                <a:gd name="T14" fmla="*/ 72 w 249"/>
                <a:gd name="T15" fmla="*/ 60 h 269"/>
                <a:gd name="T16" fmla="*/ 179 w 249"/>
                <a:gd name="T17" fmla="*/ 12 h 269"/>
                <a:gd name="T18" fmla="*/ 245 w 249"/>
                <a:gd name="T19" fmla="*/ 84 h 269"/>
                <a:gd name="T20" fmla="*/ 101 w 249"/>
                <a:gd name="T2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269">
                  <a:moveTo>
                    <a:pt x="101" y="269"/>
                  </a:moveTo>
                  <a:cubicBezTo>
                    <a:pt x="94" y="257"/>
                    <a:pt x="94" y="257"/>
                    <a:pt x="94" y="257"/>
                  </a:cubicBezTo>
                  <a:cubicBezTo>
                    <a:pt x="187" y="204"/>
                    <a:pt x="238" y="140"/>
                    <a:pt x="231" y="85"/>
                  </a:cubicBezTo>
                  <a:cubicBezTo>
                    <a:pt x="227" y="56"/>
                    <a:pt x="206" y="34"/>
                    <a:pt x="175" y="26"/>
                  </a:cubicBezTo>
                  <a:cubicBezTo>
                    <a:pt x="134" y="15"/>
                    <a:pt x="110" y="40"/>
                    <a:pt x="82" y="69"/>
                  </a:cubicBezTo>
                  <a:cubicBezTo>
                    <a:pt x="60" y="93"/>
                    <a:pt x="36" y="117"/>
                    <a:pt x="2" y="122"/>
                  </a:cubicBezTo>
                  <a:cubicBezTo>
                    <a:pt x="0" y="108"/>
                    <a:pt x="0" y="108"/>
                    <a:pt x="0" y="108"/>
                  </a:cubicBezTo>
                  <a:cubicBezTo>
                    <a:pt x="30" y="104"/>
                    <a:pt x="51" y="81"/>
                    <a:pt x="72" y="60"/>
                  </a:cubicBezTo>
                  <a:cubicBezTo>
                    <a:pt x="100" y="30"/>
                    <a:pt x="130" y="0"/>
                    <a:pt x="179" y="12"/>
                  </a:cubicBezTo>
                  <a:cubicBezTo>
                    <a:pt x="215" y="21"/>
                    <a:pt x="240" y="49"/>
                    <a:pt x="245" y="84"/>
                  </a:cubicBezTo>
                  <a:cubicBezTo>
                    <a:pt x="249" y="113"/>
                    <a:pt x="243" y="189"/>
                    <a:pt x="101" y="2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22">
              <a:extLst>
                <a:ext uri="{FF2B5EF4-FFF2-40B4-BE49-F238E27FC236}">
                  <a16:creationId xmlns:a16="http://schemas.microsoft.com/office/drawing/2014/main" id="{D80E1C28-DBC7-41CB-BC1D-EB6EDB884FC5}"/>
                </a:ext>
              </a:extLst>
            </p:cNvPr>
            <p:cNvSpPr>
              <a:spLocks/>
            </p:cNvSpPr>
            <p:nvPr/>
          </p:nvSpPr>
          <p:spPr bwMode="auto">
            <a:xfrm>
              <a:off x="7253288" y="-153988"/>
              <a:ext cx="157163" cy="166688"/>
            </a:xfrm>
            <a:custGeom>
              <a:avLst/>
              <a:gdLst>
                <a:gd name="T0" fmla="*/ 47 w 188"/>
                <a:gd name="T1" fmla="*/ 197 h 197"/>
                <a:gd name="T2" fmla="*/ 41 w 188"/>
                <a:gd name="T3" fmla="*/ 184 h 197"/>
                <a:gd name="T4" fmla="*/ 174 w 188"/>
                <a:gd name="T5" fmla="*/ 54 h 197"/>
                <a:gd name="T6" fmla="*/ 159 w 188"/>
                <a:gd name="T7" fmla="*/ 27 h 197"/>
                <a:gd name="T8" fmla="*/ 100 w 188"/>
                <a:gd name="T9" fmla="*/ 60 h 197"/>
                <a:gd name="T10" fmla="*/ 0 w 188"/>
                <a:gd name="T11" fmla="*/ 123 h 197"/>
                <a:gd name="T12" fmla="*/ 0 w 188"/>
                <a:gd name="T13" fmla="*/ 109 h 197"/>
                <a:gd name="T14" fmla="*/ 90 w 188"/>
                <a:gd name="T15" fmla="*/ 51 h 197"/>
                <a:gd name="T16" fmla="*/ 164 w 188"/>
                <a:gd name="T17" fmla="*/ 15 h 197"/>
                <a:gd name="T18" fmla="*/ 188 w 188"/>
                <a:gd name="T19" fmla="*/ 53 h 197"/>
                <a:gd name="T20" fmla="*/ 47 w 188"/>
                <a:gd name="T21"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197">
                  <a:moveTo>
                    <a:pt x="47" y="197"/>
                  </a:moveTo>
                  <a:cubicBezTo>
                    <a:pt x="41" y="184"/>
                    <a:pt x="41" y="184"/>
                    <a:pt x="41" y="184"/>
                  </a:cubicBezTo>
                  <a:cubicBezTo>
                    <a:pt x="139" y="137"/>
                    <a:pt x="174" y="86"/>
                    <a:pt x="174" y="54"/>
                  </a:cubicBezTo>
                  <a:cubicBezTo>
                    <a:pt x="173" y="41"/>
                    <a:pt x="168" y="32"/>
                    <a:pt x="159" y="27"/>
                  </a:cubicBezTo>
                  <a:cubicBezTo>
                    <a:pt x="137" y="18"/>
                    <a:pt x="123" y="33"/>
                    <a:pt x="100" y="60"/>
                  </a:cubicBezTo>
                  <a:cubicBezTo>
                    <a:pt x="78" y="88"/>
                    <a:pt x="50" y="122"/>
                    <a:pt x="0" y="123"/>
                  </a:cubicBezTo>
                  <a:cubicBezTo>
                    <a:pt x="0" y="109"/>
                    <a:pt x="0" y="109"/>
                    <a:pt x="0" y="109"/>
                  </a:cubicBezTo>
                  <a:cubicBezTo>
                    <a:pt x="43" y="108"/>
                    <a:pt x="68" y="78"/>
                    <a:pt x="90" y="51"/>
                  </a:cubicBezTo>
                  <a:cubicBezTo>
                    <a:pt x="111" y="25"/>
                    <a:pt x="132" y="0"/>
                    <a:pt x="164" y="15"/>
                  </a:cubicBezTo>
                  <a:cubicBezTo>
                    <a:pt x="179" y="21"/>
                    <a:pt x="187" y="35"/>
                    <a:pt x="188" y="53"/>
                  </a:cubicBezTo>
                  <a:cubicBezTo>
                    <a:pt x="188" y="71"/>
                    <a:pt x="178" y="134"/>
                    <a:pt x="47" y="1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23">
              <a:extLst>
                <a:ext uri="{FF2B5EF4-FFF2-40B4-BE49-F238E27FC236}">
                  <a16:creationId xmlns:a16="http://schemas.microsoft.com/office/drawing/2014/main" id="{C7B5F326-0C57-4D26-B826-5FB3E1ACE7E0}"/>
                </a:ext>
              </a:extLst>
            </p:cNvPr>
            <p:cNvSpPr>
              <a:spLocks/>
            </p:cNvSpPr>
            <p:nvPr/>
          </p:nvSpPr>
          <p:spPr bwMode="auto">
            <a:xfrm>
              <a:off x="7269163" y="-107950"/>
              <a:ext cx="109538" cy="92075"/>
            </a:xfrm>
            <a:custGeom>
              <a:avLst/>
              <a:gdLst>
                <a:gd name="T0" fmla="*/ 4 w 131"/>
                <a:gd name="T1" fmla="*/ 108 h 108"/>
                <a:gd name="T2" fmla="*/ 0 w 131"/>
                <a:gd name="T3" fmla="*/ 95 h 108"/>
                <a:gd name="T4" fmla="*/ 119 w 131"/>
                <a:gd name="T5" fmla="*/ 0 h 108"/>
                <a:gd name="T6" fmla="*/ 131 w 131"/>
                <a:gd name="T7" fmla="*/ 5 h 108"/>
                <a:gd name="T8" fmla="*/ 4 w 131"/>
                <a:gd name="T9" fmla="*/ 108 h 108"/>
              </a:gdLst>
              <a:ahLst/>
              <a:cxnLst>
                <a:cxn ang="0">
                  <a:pos x="T0" y="T1"/>
                </a:cxn>
                <a:cxn ang="0">
                  <a:pos x="T2" y="T3"/>
                </a:cxn>
                <a:cxn ang="0">
                  <a:pos x="T4" y="T5"/>
                </a:cxn>
                <a:cxn ang="0">
                  <a:pos x="T6" y="T7"/>
                </a:cxn>
                <a:cxn ang="0">
                  <a:pos x="T8" y="T9"/>
                </a:cxn>
              </a:cxnLst>
              <a:rect l="0" t="0" r="r" b="b"/>
              <a:pathLst>
                <a:path w="131" h="108">
                  <a:moveTo>
                    <a:pt x="4" y="108"/>
                  </a:moveTo>
                  <a:cubicBezTo>
                    <a:pt x="0" y="95"/>
                    <a:pt x="0" y="95"/>
                    <a:pt x="0" y="95"/>
                  </a:cubicBezTo>
                  <a:cubicBezTo>
                    <a:pt x="88" y="68"/>
                    <a:pt x="118" y="1"/>
                    <a:pt x="119" y="0"/>
                  </a:cubicBezTo>
                  <a:cubicBezTo>
                    <a:pt x="131" y="5"/>
                    <a:pt x="131" y="5"/>
                    <a:pt x="131" y="5"/>
                  </a:cubicBezTo>
                  <a:cubicBezTo>
                    <a:pt x="130" y="8"/>
                    <a:pt x="98" y="79"/>
                    <a:pt x="4" y="1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00" name="Rectangle 199">
            <a:extLst>
              <a:ext uri="{FF2B5EF4-FFF2-40B4-BE49-F238E27FC236}">
                <a16:creationId xmlns:a16="http://schemas.microsoft.com/office/drawing/2014/main" id="{44600299-8AFA-4FF5-BB87-32DE9D648777}"/>
              </a:ext>
            </a:extLst>
          </p:cNvPr>
          <p:cNvSpPr/>
          <p:nvPr/>
        </p:nvSpPr>
        <p:spPr>
          <a:xfrm>
            <a:off x="10830276" y="3132726"/>
            <a:ext cx="1432896"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050"/>
                </a:solidFill>
                <a:effectLst/>
                <a:uLnTx/>
                <a:uFillTx/>
                <a:latin typeface="Segoe UI Semilight"/>
                <a:ea typeface="Segoe UI" pitchFamily="34" charset="0"/>
                <a:cs typeface="Segoe UI" pitchFamily="34" charset="0"/>
              </a:rPr>
              <a:t>Millennials/Gen Z Preferences</a:t>
            </a:r>
          </a:p>
        </p:txBody>
      </p:sp>
      <p:grpSp>
        <p:nvGrpSpPr>
          <p:cNvPr id="201" name="Group 200">
            <a:extLst>
              <a:ext uri="{FF2B5EF4-FFF2-40B4-BE49-F238E27FC236}">
                <a16:creationId xmlns:a16="http://schemas.microsoft.com/office/drawing/2014/main" id="{D5347DEF-392D-4EAA-95FB-4DD9132E574E}"/>
              </a:ext>
            </a:extLst>
          </p:cNvPr>
          <p:cNvGrpSpPr/>
          <p:nvPr/>
        </p:nvGrpSpPr>
        <p:grpSpPr>
          <a:xfrm>
            <a:off x="11380484" y="3567807"/>
            <a:ext cx="251497" cy="394828"/>
            <a:chOff x="7546634" y="-1518785"/>
            <a:chExt cx="1192212" cy="1871663"/>
          </a:xfrm>
          <a:noFill/>
        </p:grpSpPr>
        <p:sp>
          <p:nvSpPr>
            <p:cNvPr id="202" name="Freeform: Shape 201">
              <a:extLst>
                <a:ext uri="{FF2B5EF4-FFF2-40B4-BE49-F238E27FC236}">
                  <a16:creationId xmlns:a16="http://schemas.microsoft.com/office/drawing/2014/main" id="{3112AB0A-5FAC-4AA5-B6EA-0972FEA5B4C1}"/>
                </a:ext>
              </a:extLst>
            </p:cNvPr>
            <p:cNvSpPr>
              <a:spLocks/>
            </p:cNvSpPr>
            <p:nvPr/>
          </p:nvSpPr>
          <p:spPr bwMode="auto">
            <a:xfrm>
              <a:off x="8057808" y="-88447"/>
              <a:ext cx="681038" cy="441325"/>
            </a:xfrm>
            <a:custGeom>
              <a:avLst/>
              <a:gdLst>
                <a:gd name="connsiteX0" fmla="*/ 515937 w 681038"/>
                <a:gd name="connsiteY0" fmla="*/ 0 h 441325"/>
                <a:gd name="connsiteX1" fmla="*/ 515938 w 681038"/>
                <a:gd name="connsiteY1" fmla="*/ 0 h 441325"/>
                <a:gd name="connsiteX2" fmla="*/ 531813 w 681038"/>
                <a:gd name="connsiteY2" fmla="*/ 41275 h 441325"/>
                <a:gd name="connsiteX3" fmla="*/ 531434 w 681038"/>
                <a:gd name="connsiteY3" fmla="*/ 41420 h 441325"/>
                <a:gd name="connsiteX4" fmla="*/ 681038 w 681038"/>
                <a:gd name="connsiteY4" fmla="*/ 441325 h 441325"/>
                <a:gd name="connsiteX5" fmla="*/ 681037 w 681038"/>
                <a:gd name="connsiteY5" fmla="*/ 441325 h 441325"/>
                <a:gd name="connsiteX6" fmla="*/ 625475 w 681038"/>
                <a:gd name="connsiteY6" fmla="*/ 441325 h 441325"/>
                <a:gd name="connsiteX7" fmla="*/ 290513 w 681038"/>
                <a:gd name="connsiteY7" fmla="*/ 441325 h 441325"/>
                <a:gd name="connsiteX8" fmla="*/ 95250 w 681038"/>
                <a:gd name="connsiteY8" fmla="*/ 441325 h 441325"/>
                <a:gd name="connsiteX9" fmla="*/ 0 w 681038"/>
                <a:gd name="connsiteY9" fmla="*/ 195263 h 441325"/>
                <a:gd name="connsiteX10" fmla="*/ 0 w 681038"/>
                <a:gd name="connsiteY10" fmla="*/ 195263 h 441325"/>
                <a:gd name="connsiteX11" fmla="*/ 0 w 681038"/>
                <a:gd name="connsiteY11" fmla="*/ 195263 h 441325"/>
                <a:gd name="connsiteX12" fmla="*/ 66675 w 681038"/>
                <a:gd name="connsiteY12" fmla="*/ 146050 h 441325"/>
                <a:gd name="connsiteX13" fmla="*/ 442913 w 681038"/>
                <a:gd name="connsiteY13" fmla="*/ 9525 h 441325"/>
                <a:gd name="connsiteX14" fmla="*/ 515937 w 681038"/>
                <a:gd name="connsiteY14" fmla="*/ 0 h 44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1038" h="441325">
                  <a:moveTo>
                    <a:pt x="515937" y="0"/>
                  </a:moveTo>
                  <a:lnTo>
                    <a:pt x="515938" y="0"/>
                  </a:lnTo>
                  <a:lnTo>
                    <a:pt x="531813" y="41275"/>
                  </a:lnTo>
                  <a:lnTo>
                    <a:pt x="531434" y="41420"/>
                  </a:lnTo>
                  <a:lnTo>
                    <a:pt x="681038" y="441325"/>
                  </a:lnTo>
                  <a:lnTo>
                    <a:pt x="681037" y="441325"/>
                  </a:lnTo>
                  <a:lnTo>
                    <a:pt x="625475" y="441325"/>
                  </a:lnTo>
                  <a:lnTo>
                    <a:pt x="290513" y="441325"/>
                  </a:lnTo>
                  <a:lnTo>
                    <a:pt x="95250" y="441325"/>
                  </a:lnTo>
                  <a:lnTo>
                    <a:pt x="0" y="195263"/>
                  </a:lnTo>
                  <a:lnTo>
                    <a:pt x="0" y="195263"/>
                  </a:lnTo>
                  <a:lnTo>
                    <a:pt x="0" y="195263"/>
                  </a:lnTo>
                  <a:lnTo>
                    <a:pt x="66675" y="146050"/>
                  </a:lnTo>
                  <a:lnTo>
                    <a:pt x="442913" y="9525"/>
                  </a:lnTo>
                  <a:lnTo>
                    <a:pt x="515937" y="0"/>
                  </a:ln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Freeform: Shape 202">
              <a:extLst>
                <a:ext uri="{FF2B5EF4-FFF2-40B4-BE49-F238E27FC236}">
                  <a16:creationId xmlns:a16="http://schemas.microsoft.com/office/drawing/2014/main" id="{2D6BF1BF-841D-47BE-B30E-D77F6026081A}"/>
                </a:ext>
              </a:extLst>
            </p:cNvPr>
            <p:cNvSpPr>
              <a:spLocks/>
            </p:cNvSpPr>
            <p:nvPr/>
          </p:nvSpPr>
          <p:spPr bwMode="auto">
            <a:xfrm>
              <a:off x="7775650" y="-1009197"/>
              <a:ext cx="729414" cy="1066457"/>
            </a:xfrm>
            <a:custGeom>
              <a:avLst/>
              <a:gdLst>
                <a:gd name="connsiteX0" fmla="*/ 287559 w 729414"/>
                <a:gd name="connsiteY0" fmla="*/ 0 h 1066457"/>
                <a:gd name="connsiteX1" fmla="*/ 451199 w 729414"/>
                <a:gd name="connsiteY1" fmla="*/ 201973 h 1066457"/>
                <a:gd name="connsiteX2" fmla="*/ 614839 w 729414"/>
                <a:gd name="connsiteY2" fmla="*/ 628803 h 1066457"/>
                <a:gd name="connsiteX3" fmla="*/ 728957 w 729414"/>
                <a:gd name="connsiteY3" fmla="*/ 928510 h 1066457"/>
                <a:gd name="connsiteX4" fmla="*/ 729414 w 729414"/>
                <a:gd name="connsiteY4" fmla="*/ 929709 h 1066457"/>
                <a:gd name="connsiteX5" fmla="*/ 725071 w 729414"/>
                <a:gd name="connsiteY5" fmla="*/ 930275 h 1066457"/>
                <a:gd name="connsiteX6" fmla="*/ 349779 w 729414"/>
                <a:gd name="connsiteY6" fmla="*/ 1066457 h 1066457"/>
                <a:gd name="connsiteX7" fmla="*/ 315418 w 729414"/>
                <a:gd name="connsiteY7" fmla="*/ 976798 h 1066457"/>
                <a:gd name="connsiteX8" fmla="*/ 229331 w 729414"/>
                <a:gd name="connsiteY8" fmla="*/ 752176 h 1066457"/>
                <a:gd name="connsiteX9" fmla="*/ 229771 w 729414"/>
                <a:gd name="connsiteY9" fmla="*/ 752010 h 1066457"/>
                <a:gd name="connsiteX10" fmla="*/ 163268 w 729414"/>
                <a:gd name="connsiteY10" fmla="*/ 727041 h 1066457"/>
                <a:gd name="connsiteX11" fmla="*/ 13643 w 729414"/>
                <a:gd name="connsiteY11" fmla="*/ 546289 h 1066457"/>
                <a:gd name="connsiteX12" fmla="*/ 0 w 729414"/>
                <a:gd name="connsiteY12" fmla="*/ 517525 h 1066457"/>
                <a:gd name="connsiteX13" fmla="*/ 47551 w 729414"/>
                <a:gd name="connsiteY13" fmla="*/ 517525 h 1066457"/>
                <a:gd name="connsiteX14" fmla="*/ 274468 w 729414"/>
                <a:gd name="connsiteY14" fmla="*/ 517525 h 1066457"/>
                <a:gd name="connsiteX15" fmla="*/ 288509 w 729414"/>
                <a:gd name="connsiteY15" fmla="*/ 503578 h 1066457"/>
                <a:gd name="connsiteX16" fmla="*/ 288509 w 729414"/>
                <a:gd name="connsiteY16" fmla="*/ 259628 h 1066457"/>
                <a:gd name="connsiteX17" fmla="*/ 288509 w 729414"/>
                <a:gd name="connsiteY17" fmla="*/ 225989 h 1066457"/>
                <a:gd name="connsiteX18" fmla="*/ 287559 w 729414"/>
                <a:gd name="connsiteY18" fmla="*/ 224857 h 1066457"/>
                <a:gd name="connsiteX19" fmla="*/ 287559 w 729414"/>
                <a:gd name="connsiteY19" fmla="*/ 0 h 1066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9414" h="1066457">
                  <a:moveTo>
                    <a:pt x="287559" y="0"/>
                  </a:moveTo>
                  <a:cubicBezTo>
                    <a:pt x="309645" y="136307"/>
                    <a:pt x="451199" y="201973"/>
                    <a:pt x="451199" y="201973"/>
                  </a:cubicBezTo>
                  <a:cubicBezTo>
                    <a:pt x="614839" y="628803"/>
                    <a:pt x="614839" y="628803"/>
                    <a:pt x="614839" y="628803"/>
                  </a:cubicBezTo>
                  <a:cubicBezTo>
                    <a:pt x="690134" y="826548"/>
                    <a:pt x="718369" y="900702"/>
                    <a:pt x="728957" y="928510"/>
                  </a:cubicBezTo>
                  <a:lnTo>
                    <a:pt x="729414" y="929709"/>
                  </a:lnTo>
                  <a:lnTo>
                    <a:pt x="725071" y="930275"/>
                  </a:lnTo>
                  <a:lnTo>
                    <a:pt x="349779" y="1066457"/>
                  </a:lnTo>
                  <a:lnTo>
                    <a:pt x="315418" y="976798"/>
                  </a:lnTo>
                  <a:cubicBezTo>
                    <a:pt x="229331" y="752176"/>
                    <a:pt x="229331" y="752176"/>
                    <a:pt x="229331" y="752176"/>
                  </a:cubicBezTo>
                  <a:lnTo>
                    <a:pt x="229771" y="752010"/>
                  </a:lnTo>
                  <a:lnTo>
                    <a:pt x="163268" y="727041"/>
                  </a:lnTo>
                  <a:cubicBezTo>
                    <a:pt x="100689" y="689138"/>
                    <a:pt x="50532" y="616699"/>
                    <a:pt x="13643" y="546289"/>
                  </a:cubicBezTo>
                  <a:lnTo>
                    <a:pt x="0" y="517525"/>
                  </a:lnTo>
                  <a:lnTo>
                    <a:pt x="47551" y="517525"/>
                  </a:lnTo>
                  <a:cubicBezTo>
                    <a:pt x="108134" y="517525"/>
                    <a:pt x="182697" y="517525"/>
                    <a:pt x="274468" y="517525"/>
                  </a:cubicBezTo>
                  <a:cubicBezTo>
                    <a:pt x="282492" y="517525"/>
                    <a:pt x="288509" y="511548"/>
                    <a:pt x="288509" y="503578"/>
                  </a:cubicBezTo>
                  <a:cubicBezTo>
                    <a:pt x="288509" y="503578"/>
                    <a:pt x="288509" y="503578"/>
                    <a:pt x="288509" y="259628"/>
                  </a:cubicBezTo>
                  <a:lnTo>
                    <a:pt x="288509" y="225989"/>
                  </a:lnTo>
                  <a:lnTo>
                    <a:pt x="287559" y="224857"/>
                  </a:lnTo>
                  <a:cubicBezTo>
                    <a:pt x="182146" y="148246"/>
                    <a:pt x="218288" y="10944"/>
                    <a:pt x="287559" y="0"/>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Shape 203">
              <a:extLst>
                <a:ext uri="{FF2B5EF4-FFF2-40B4-BE49-F238E27FC236}">
                  <a16:creationId xmlns:a16="http://schemas.microsoft.com/office/drawing/2014/main" id="{76302C9B-A9E1-44A0-A289-74F88C0C4CFE}"/>
                </a:ext>
              </a:extLst>
            </p:cNvPr>
            <p:cNvSpPr>
              <a:spLocks/>
            </p:cNvSpPr>
            <p:nvPr/>
          </p:nvSpPr>
          <p:spPr bwMode="auto">
            <a:xfrm>
              <a:off x="7546634" y="-1518785"/>
              <a:ext cx="517525" cy="1027113"/>
            </a:xfrm>
            <a:custGeom>
              <a:avLst/>
              <a:gdLst>
                <a:gd name="connsiteX0" fmla="*/ 276225 w 517525"/>
                <a:gd name="connsiteY0" fmla="*/ 931863 h 1027113"/>
                <a:gd name="connsiteX1" fmla="*/ 234950 w 517525"/>
                <a:gd name="connsiteY1" fmla="*/ 938213 h 1027113"/>
                <a:gd name="connsiteX2" fmla="*/ 234950 w 517525"/>
                <a:gd name="connsiteY2" fmla="*/ 966788 h 1027113"/>
                <a:gd name="connsiteX3" fmla="*/ 276225 w 517525"/>
                <a:gd name="connsiteY3" fmla="*/ 973138 h 1027113"/>
                <a:gd name="connsiteX4" fmla="*/ 200846 w 517525"/>
                <a:gd name="connsiteY4" fmla="*/ 38100 h 1027113"/>
                <a:gd name="connsiteX5" fmla="*/ 196850 w 517525"/>
                <a:gd name="connsiteY5" fmla="*/ 42636 h 1027113"/>
                <a:gd name="connsiteX6" fmla="*/ 200846 w 517525"/>
                <a:gd name="connsiteY6" fmla="*/ 46038 h 1027113"/>
                <a:gd name="connsiteX7" fmla="*/ 309741 w 517525"/>
                <a:gd name="connsiteY7" fmla="*/ 46038 h 1027113"/>
                <a:gd name="connsiteX8" fmla="*/ 312738 w 517525"/>
                <a:gd name="connsiteY8" fmla="*/ 42636 h 1027113"/>
                <a:gd name="connsiteX9" fmla="*/ 309741 w 517525"/>
                <a:gd name="connsiteY9" fmla="*/ 38100 h 1027113"/>
                <a:gd name="connsiteX10" fmla="*/ 200846 w 517525"/>
                <a:gd name="connsiteY10" fmla="*/ 38100 h 1027113"/>
                <a:gd name="connsiteX11" fmla="*/ 14042 w 517525"/>
                <a:gd name="connsiteY11" fmla="*/ 0 h 1027113"/>
                <a:gd name="connsiteX12" fmla="*/ 503484 w 517525"/>
                <a:gd name="connsiteY12" fmla="*/ 0 h 1027113"/>
                <a:gd name="connsiteX13" fmla="*/ 517525 w 517525"/>
                <a:gd name="connsiteY13" fmla="*/ 13947 h 1027113"/>
                <a:gd name="connsiteX14" fmla="*/ 517525 w 517525"/>
                <a:gd name="connsiteY14" fmla="*/ 477208 h 1027113"/>
                <a:gd name="connsiteX15" fmla="*/ 517525 w 517525"/>
                <a:gd name="connsiteY15" fmla="*/ 512985 h 1027113"/>
                <a:gd name="connsiteX16" fmla="*/ 516575 w 517525"/>
                <a:gd name="connsiteY16" fmla="*/ 509588 h 1027113"/>
                <a:gd name="connsiteX17" fmla="*/ 506412 w 517525"/>
                <a:gd name="connsiteY17" fmla="*/ 516274 h 1027113"/>
                <a:gd name="connsiteX18" fmla="*/ 506412 w 517525"/>
                <a:gd name="connsiteY18" fmla="*/ 87313 h 1027113"/>
                <a:gd name="connsiteX19" fmla="*/ 17462 w 517525"/>
                <a:gd name="connsiteY19" fmla="*/ 87313 h 1027113"/>
                <a:gd name="connsiteX20" fmla="*/ 17462 w 517525"/>
                <a:gd name="connsiteY20" fmla="*/ 884238 h 1027113"/>
                <a:gd name="connsiteX21" fmla="*/ 506412 w 517525"/>
                <a:gd name="connsiteY21" fmla="*/ 884238 h 1027113"/>
                <a:gd name="connsiteX22" fmla="*/ 506412 w 517525"/>
                <a:gd name="connsiteY22" fmla="*/ 724865 h 1027113"/>
                <a:gd name="connsiteX23" fmla="*/ 516575 w 517525"/>
                <a:gd name="connsiteY23" fmla="*/ 734445 h 1027113"/>
                <a:gd name="connsiteX24" fmla="*/ 517525 w 517525"/>
                <a:gd name="connsiteY24" fmla="*/ 735577 h 1027113"/>
                <a:gd name="connsiteX25" fmla="*/ 517525 w 517525"/>
                <a:gd name="connsiteY25" fmla="*/ 769216 h 1027113"/>
                <a:gd name="connsiteX26" fmla="*/ 517525 w 517525"/>
                <a:gd name="connsiteY26" fmla="*/ 769216 h 1027113"/>
                <a:gd name="connsiteX27" fmla="*/ 517525 w 517525"/>
                <a:gd name="connsiteY27" fmla="*/ 835327 h 1027113"/>
                <a:gd name="connsiteX28" fmla="*/ 517525 w 517525"/>
                <a:gd name="connsiteY28" fmla="*/ 849739 h 1027113"/>
                <a:gd name="connsiteX29" fmla="*/ 517525 w 517525"/>
                <a:gd name="connsiteY29" fmla="*/ 888264 h 1027113"/>
                <a:gd name="connsiteX30" fmla="*/ 517525 w 517525"/>
                <a:gd name="connsiteY30" fmla="*/ 910250 h 1027113"/>
                <a:gd name="connsiteX31" fmla="*/ 517525 w 517525"/>
                <a:gd name="connsiteY31" fmla="*/ 953608 h 1027113"/>
                <a:gd name="connsiteX32" fmla="*/ 517525 w 517525"/>
                <a:gd name="connsiteY32" fmla="*/ 960473 h 1027113"/>
                <a:gd name="connsiteX33" fmla="*/ 517525 w 517525"/>
                <a:gd name="connsiteY33" fmla="*/ 982672 h 1027113"/>
                <a:gd name="connsiteX34" fmla="*/ 517525 w 517525"/>
                <a:gd name="connsiteY34" fmla="*/ 997553 h 1027113"/>
                <a:gd name="connsiteX35" fmla="*/ 517525 w 517525"/>
                <a:gd name="connsiteY35" fmla="*/ 1009354 h 1027113"/>
                <a:gd name="connsiteX36" fmla="*/ 517525 w 517525"/>
                <a:gd name="connsiteY36" fmla="*/ 1011215 h 1027113"/>
                <a:gd name="connsiteX37" fmla="*/ 517525 w 517525"/>
                <a:gd name="connsiteY37" fmla="*/ 1013166 h 1027113"/>
                <a:gd name="connsiteX38" fmla="*/ 503484 w 517525"/>
                <a:gd name="connsiteY38" fmla="*/ 1027113 h 1027113"/>
                <a:gd name="connsiteX39" fmla="*/ 417330 w 517525"/>
                <a:gd name="connsiteY39" fmla="*/ 1027113 h 1027113"/>
                <a:gd name="connsiteX40" fmla="*/ 378330 w 517525"/>
                <a:gd name="connsiteY40" fmla="*/ 1027113 h 1027113"/>
                <a:gd name="connsiteX41" fmla="*/ 341930 w 517525"/>
                <a:gd name="connsiteY41" fmla="*/ 1027113 h 1027113"/>
                <a:gd name="connsiteX42" fmla="*/ 276568 w 517525"/>
                <a:gd name="connsiteY42" fmla="*/ 1027113 h 1027113"/>
                <a:gd name="connsiteX43" fmla="*/ 276567 w 517525"/>
                <a:gd name="connsiteY43" fmla="*/ 1027113 h 1027113"/>
                <a:gd name="connsiteX44" fmla="*/ 229016 w 517525"/>
                <a:gd name="connsiteY44" fmla="*/ 1027113 h 1027113"/>
                <a:gd name="connsiteX45" fmla="*/ 220526 w 517525"/>
                <a:gd name="connsiteY45" fmla="*/ 1027113 h 1027113"/>
                <a:gd name="connsiteX46" fmla="*/ 14042 w 517525"/>
                <a:gd name="connsiteY46" fmla="*/ 1027113 h 1027113"/>
                <a:gd name="connsiteX47" fmla="*/ 0 w 517525"/>
                <a:gd name="connsiteY47" fmla="*/ 1013166 h 1027113"/>
                <a:gd name="connsiteX48" fmla="*/ 0 w 517525"/>
                <a:gd name="connsiteY48" fmla="*/ 13947 h 1027113"/>
                <a:gd name="connsiteX49" fmla="*/ 14042 w 517525"/>
                <a:gd name="connsiteY49" fmla="*/ 0 h 102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17525" h="1027113">
                  <a:moveTo>
                    <a:pt x="276225" y="931863"/>
                  </a:moveTo>
                  <a:lnTo>
                    <a:pt x="234950" y="938213"/>
                  </a:lnTo>
                  <a:lnTo>
                    <a:pt x="234950" y="966788"/>
                  </a:lnTo>
                  <a:lnTo>
                    <a:pt x="276225" y="973138"/>
                  </a:lnTo>
                  <a:close/>
                  <a:moveTo>
                    <a:pt x="200846" y="38100"/>
                  </a:moveTo>
                  <a:cubicBezTo>
                    <a:pt x="198848" y="38100"/>
                    <a:pt x="196850" y="40368"/>
                    <a:pt x="196850" y="42636"/>
                  </a:cubicBezTo>
                  <a:cubicBezTo>
                    <a:pt x="196850" y="44904"/>
                    <a:pt x="198848" y="46038"/>
                    <a:pt x="200846" y="46038"/>
                  </a:cubicBezTo>
                  <a:cubicBezTo>
                    <a:pt x="200846" y="46038"/>
                    <a:pt x="200846" y="46038"/>
                    <a:pt x="309741" y="46038"/>
                  </a:cubicBezTo>
                  <a:cubicBezTo>
                    <a:pt x="311739" y="46038"/>
                    <a:pt x="312738" y="44904"/>
                    <a:pt x="312738" y="42636"/>
                  </a:cubicBezTo>
                  <a:cubicBezTo>
                    <a:pt x="312738" y="40368"/>
                    <a:pt x="311739" y="38100"/>
                    <a:pt x="309741" y="38100"/>
                  </a:cubicBezTo>
                  <a:cubicBezTo>
                    <a:pt x="309741" y="38100"/>
                    <a:pt x="309741" y="38100"/>
                    <a:pt x="200846" y="38100"/>
                  </a:cubicBezTo>
                  <a:close/>
                  <a:moveTo>
                    <a:pt x="14042" y="0"/>
                  </a:moveTo>
                  <a:cubicBezTo>
                    <a:pt x="503484" y="0"/>
                    <a:pt x="503484" y="0"/>
                    <a:pt x="503484" y="0"/>
                  </a:cubicBezTo>
                  <a:cubicBezTo>
                    <a:pt x="511508" y="0"/>
                    <a:pt x="517525" y="5978"/>
                    <a:pt x="517525" y="13947"/>
                  </a:cubicBezTo>
                  <a:cubicBezTo>
                    <a:pt x="517525" y="201301"/>
                    <a:pt x="517525" y="353525"/>
                    <a:pt x="517525" y="477208"/>
                  </a:cubicBezTo>
                  <a:lnTo>
                    <a:pt x="517525" y="512985"/>
                  </a:lnTo>
                  <a:lnTo>
                    <a:pt x="516575" y="509588"/>
                  </a:lnTo>
                  <a:lnTo>
                    <a:pt x="506412" y="516274"/>
                  </a:lnTo>
                  <a:lnTo>
                    <a:pt x="506412" y="87313"/>
                  </a:lnTo>
                  <a:lnTo>
                    <a:pt x="17462" y="87313"/>
                  </a:lnTo>
                  <a:lnTo>
                    <a:pt x="17462" y="884238"/>
                  </a:lnTo>
                  <a:lnTo>
                    <a:pt x="506412" y="884238"/>
                  </a:lnTo>
                  <a:lnTo>
                    <a:pt x="506412" y="724865"/>
                  </a:lnTo>
                  <a:lnTo>
                    <a:pt x="516575" y="734445"/>
                  </a:lnTo>
                  <a:lnTo>
                    <a:pt x="517525" y="735577"/>
                  </a:lnTo>
                  <a:lnTo>
                    <a:pt x="517525" y="769216"/>
                  </a:lnTo>
                  <a:lnTo>
                    <a:pt x="517525" y="769216"/>
                  </a:lnTo>
                  <a:cubicBezTo>
                    <a:pt x="517525" y="793611"/>
                    <a:pt x="517525" y="815567"/>
                    <a:pt x="517525" y="835327"/>
                  </a:cubicBezTo>
                  <a:lnTo>
                    <a:pt x="517525" y="849739"/>
                  </a:lnTo>
                  <a:lnTo>
                    <a:pt x="517525" y="888264"/>
                  </a:lnTo>
                  <a:lnTo>
                    <a:pt x="517525" y="910250"/>
                  </a:lnTo>
                  <a:lnTo>
                    <a:pt x="517525" y="953608"/>
                  </a:lnTo>
                  <a:lnTo>
                    <a:pt x="517525" y="960473"/>
                  </a:lnTo>
                  <a:lnTo>
                    <a:pt x="517525" y="982672"/>
                  </a:lnTo>
                  <a:lnTo>
                    <a:pt x="517525" y="997553"/>
                  </a:lnTo>
                  <a:lnTo>
                    <a:pt x="517525" y="1009354"/>
                  </a:lnTo>
                  <a:lnTo>
                    <a:pt x="517525" y="1011215"/>
                  </a:lnTo>
                  <a:cubicBezTo>
                    <a:pt x="517525" y="1013166"/>
                    <a:pt x="517525" y="1013166"/>
                    <a:pt x="517525" y="1013166"/>
                  </a:cubicBezTo>
                  <a:cubicBezTo>
                    <a:pt x="517525" y="1021136"/>
                    <a:pt x="511508" y="1027113"/>
                    <a:pt x="503484" y="1027113"/>
                  </a:cubicBezTo>
                  <a:cubicBezTo>
                    <a:pt x="472894" y="1027113"/>
                    <a:pt x="444216" y="1027113"/>
                    <a:pt x="417330" y="1027113"/>
                  </a:cubicBezTo>
                  <a:lnTo>
                    <a:pt x="378330" y="1027113"/>
                  </a:lnTo>
                  <a:lnTo>
                    <a:pt x="341930" y="1027113"/>
                  </a:lnTo>
                  <a:cubicBezTo>
                    <a:pt x="318510" y="1027113"/>
                    <a:pt x="296762" y="1027113"/>
                    <a:pt x="276568" y="1027113"/>
                  </a:cubicBezTo>
                  <a:lnTo>
                    <a:pt x="276567" y="1027113"/>
                  </a:lnTo>
                  <a:lnTo>
                    <a:pt x="229016" y="1027113"/>
                  </a:lnTo>
                  <a:lnTo>
                    <a:pt x="220526" y="1027113"/>
                  </a:lnTo>
                  <a:cubicBezTo>
                    <a:pt x="14042" y="1027113"/>
                    <a:pt x="14042" y="1027113"/>
                    <a:pt x="14042" y="1027113"/>
                  </a:cubicBezTo>
                  <a:cubicBezTo>
                    <a:pt x="6018" y="1027113"/>
                    <a:pt x="0" y="1021136"/>
                    <a:pt x="0" y="1013166"/>
                  </a:cubicBezTo>
                  <a:cubicBezTo>
                    <a:pt x="0" y="13947"/>
                    <a:pt x="0" y="13947"/>
                    <a:pt x="0" y="13947"/>
                  </a:cubicBezTo>
                  <a:cubicBezTo>
                    <a:pt x="0" y="5978"/>
                    <a:pt x="6018" y="0"/>
                    <a:pt x="14042" y="0"/>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8" name="Group 227">
            <a:extLst>
              <a:ext uri="{FF2B5EF4-FFF2-40B4-BE49-F238E27FC236}">
                <a16:creationId xmlns:a16="http://schemas.microsoft.com/office/drawing/2014/main" id="{3ABCF8BE-BB45-4FA3-A6EE-F5A60E0176E7}"/>
              </a:ext>
            </a:extLst>
          </p:cNvPr>
          <p:cNvGrpSpPr/>
          <p:nvPr/>
        </p:nvGrpSpPr>
        <p:grpSpPr>
          <a:xfrm>
            <a:off x="8890293" y="2977230"/>
            <a:ext cx="293890" cy="396655"/>
            <a:chOff x="4846069" y="3554782"/>
            <a:chExt cx="428751" cy="578672"/>
          </a:xfrm>
          <a:noFill/>
        </p:grpSpPr>
        <p:sp>
          <p:nvSpPr>
            <p:cNvPr id="229" name="Freeform: Shape 228">
              <a:extLst>
                <a:ext uri="{FF2B5EF4-FFF2-40B4-BE49-F238E27FC236}">
                  <a16:creationId xmlns:a16="http://schemas.microsoft.com/office/drawing/2014/main" id="{C0262E6A-4917-46E6-86AF-8051D1727DA1}"/>
                </a:ext>
              </a:extLst>
            </p:cNvPr>
            <p:cNvSpPr>
              <a:spLocks noChangeArrowheads="1"/>
            </p:cNvSpPr>
            <p:nvPr/>
          </p:nvSpPr>
          <p:spPr bwMode="auto">
            <a:xfrm>
              <a:off x="4846069" y="3646615"/>
              <a:ext cx="263335" cy="486839"/>
            </a:xfrm>
            <a:custGeom>
              <a:avLst/>
              <a:gdLst>
                <a:gd name="connsiteX0" fmla="*/ 0 w 263335"/>
                <a:gd name="connsiteY0" fmla="*/ 0 h 486839"/>
                <a:gd name="connsiteX1" fmla="*/ 63621 w 263335"/>
                <a:gd name="connsiteY1" fmla="*/ 0 h 486839"/>
                <a:gd name="connsiteX2" fmla="*/ 63621 w 263335"/>
                <a:gd name="connsiteY2" fmla="*/ 11796 h 486839"/>
                <a:gd name="connsiteX3" fmla="*/ 63621 w 263335"/>
                <a:gd name="connsiteY3" fmla="*/ 105008 h 486839"/>
                <a:gd name="connsiteX4" fmla="*/ 117111 w 263335"/>
                <a:gd name="connsiteY4" fmla="*/ 161607 h 486839"/>
                <a:gd name="connsiteX5" fmla="*/ 117111 w 263335"/>
                <a:gd name="connsiteY5" fmla="*/ 232355 h 486839"/>
                <a:gd name="connsiteX6" fmla="*/ 189207 w 263335"/>
                <a:gd name="connsiteY6" fmla="*/ 161607 h 486839"/>
                <a:gd name="connsiteX7" fmla="*/ 250619 w 263335"/>
                <a:gd name="connsiteY7" fmla="*/ 161607 h 486839"/>
                <a:gd name="connsiteX8" fmla="*/ 263335 w 263335"/>
                <a:gd name="connsiteY8" fmla="*/ 161607 h 486839"/>
                <a:gd name="connsiteX9" fmla="*/ 263335 w 263335"/>
                <a:gd name="connsiteY9" fmla="*/ 486839 h 486839"/>
                <a:gd name="connsiteX10" fmla="*/ 0 w 263335"/>
                <a:gd name="connsiteY10" fmla="*/ 486839 h 486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335" h="486839">
                  <a:moveTo>
                    <a:pt x="0" y="0"/>
                  </a:moveTo>
                  <a:lnTo>
                    <a:pt x="63621" y="0"/>
                  </a:lnTo>
                  <a:lnTo>
                    <a:pt x="63621" y="11796"/>
                  </a:lnTo>
                  <a:cubicBezTo>
                    <a:pt x="63621" y="105008"/>
                    <a:pt x="63621" y="105008"/>
                    <a:pt x="63621" y="105008"/>
                  </a:cubicBezTo>
                  <a:cubicBezTo>
                    <a:pt x="63621" y="135666"/>
                    <a:pt x="88041" y="161607"/>
                    <a:pt x="117111" y="161607"/>
                  </a:cubicBezTo>
                  <a:cubicBezTo>
                    <a:pt x="117111" y="232355"/>
                    <a:pt x="117111" y="232355"/>
                    <a:pt x="117111" y="232355"/>
                  </a:cubicBezTo>
                  <a:cubicBezTo>
                    <a:pt x="189207" y="161607"/>
                    <a:pt x="189207" y="161607"/>
                    <a:pt x="189207" y="161607"/>
                  </a:cubicBezTo>
                  <a:cubicBezTo>
                    <a:pt x="212464" y="161607"/>
                    <a:pt x="232813" y="161607"/>
                    <a:pt x="250619" y="161607"/>
                  </a:cubicBezTo>
                  <a:lnTo>
                    <a:pt x="263335" y="161607"/>
                  </a:lnTo>
                  <a:lnTo>
                    <a:pt x="263335" y="486839"/>
                  </a:lnTo>
                  <a:lnTo>
                    <a:pt x="0" y="486839"/>
                  </a:ln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Rectangle 102">
              <a:extLst>
                <a:ext uri="{FF2B5EF4-FFF2-40B4-BE49-F238E27FC236}">
                  <a16:creationId xmlns:a16="http://schemas.microsoft.com/office/drawing/2014/main" id="{B7611C3A-3390-402A-AB87-EE53991394DD}"/>
                </a:ext>
              </a:extLst>
            </p:cNvPr>
            <p:cNvSpPr>
              <a:spLocks noChangeArrowheads="1"/>
            </p:cNvSpPr>
            <p:nvPr/>
          </p:nvSpPr>
          <p:spPr bwMode="auto">
            <a:xfrm>
              <a:off x="4963821" y="4082436"/>
              <a:ext cx="25449" cy="24342"/>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31" name="Group 230">
              <a:extLst>
                <a:ext uri="{FF2B5EF4-FFF2-40B4-BE49-F238E27FC236}">
                  <a16:creationId xmlns:a16="http://schemas.microsoft.com/office/drawing/2014/main" id="{839747F3-6B33-4552-BF6A-49CC12F3DD82}"/>
                </a:ext>
              </a:extLst>
            </p:cNvPr>
            <p:cNvGrpSpPr/>
            <p:nvPr/>
          </p:nvGrpSpPr>
          <p:grpSpPr>
            <a:xfrm>
              <a:off x="5056847" y="3587973"/>
              <a:ext cx="69707" cy="183671"/>
              <a:chOff x="6417277" y="3051469"/>
              <a:chExt cx="69707" cy="183671"/>
            </a:xfrm>
            <a:grpFill/>
          </p:grpSpPr>
          <p:sp>
            <p:nvSpPr>
              <p:cNvPr id="234" name="Freeform 104">
                <a:extLst>
                  <a:ext uri="{FF2B5EF4-FFF2-40B4-BE49-F238E27FC236}">
                    <a16:creationId xmlns:a16="http://schemas.microsoft.com/office/drawing/2014/main" id="{E1E2B261-E90E-474D-83C2-B215A761F199}"/>
                  </a:ext>
                </a:extLst>
              </p:cNvPr>
              <p:cNvSpPr>
                <a:spLocks/>
              </p:cNvSpPr>
              <p:nvPr/>
            </p:nvSpPr>
            <p:spPr bwMode="auto">
              <a:xfrm>
                <a:off x="6417277" y="3082449"/>
                <a:ext cx="69707" cy="133881"/>
              </a:xfrm>
              <a:custGeom>
                <a:avLst/>
                <a:gdLst>
                  <a:gd name="T0" fmla="*/ 60 w 60"/>
                  <a:gd name="T1" fmla="*/ 6 h 114"/>
                  <a:gd name="T2" fmla="*/ 31 w 60"/>
                  <a:gd name="T3" fmla="*/ 1 h 114"/>
                  <a:gd name="T4" fmla="*/ 4 w 60"/>
                  <a:gd name="T5" fmla="*/ 22 h 114"/>
                  <a:gd name="T6" fmla="*/ 56 w 60"/>
                  <a:gd name="T7" fmla="*/ 78 h 114"/>
                  <a:gd name="T8" fmla="*/ 0 w 60"/>
                  <a:gd name="T9" fmla="*/ 98 h 114"/>
                </a:gdLst>
                <a:ahLst/>
                <a:cxnLst>
                  <a:cxn ang="0">
                    <a:pos x="T0" y="T1"/>
                  </a:cxn>
                  <a:cxn ang="0">
                    <a:pos x="T2" y="T3"/>
                  </a:cxn>
                  <a:cxn ang="0">
                    <a:pos x="T4" y="T5"/>
                  </a:cxn>
                  <a:cxn ang="0">
                    <a:pos x="T6" y="T7"/>
                  </a:cxn>
                  <a:cxn ang="0">
                    <a:pos x="T8" y="T9"/>
                  </a:cxn>
                </a:cxnLst>
                <a:rect l="0" t="0" r="r" b="b"/>
                <a:pathLst>
                  <a:path w="60" h="114">
                    <a:moveTo>
                      <a:pt x="60" y="6"/>
                    </a:moveTo>
                    <a:cubicBezTo>
                      <a:pt x="60" y="6"/>
                      <a:pt x="45" y="0"/>
                      <a:pt x="31" y="1"/>
                    </a:cubicBezTo>
                    <a:cubicBezTo>
                      <a:pt x="20" y="2"/>
                      <a:pt x="4" y="6"/>
                      <a:pt x="4" y="22"/>
                    </a:cubicBezTo>
                    <a:cubicBezTo>
                      <a:pt x="4" y="58"/>
                      <a:pt x="56" y="42"/>
                      <a:pt x="56" y="78"/>
                    </a:cubicBezTo>
                    <a:cubicBezTo>
                      <a:pt x="56" y="114"/>
                      <a:pt x="0" y="98"/>
                      <a:pt x="0" y="98"/>
                    </a:cubicBez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5" name="Freeform 105">
                <a:extLst>
                  <a:ext uri="{FF2B5EF4-FFF2-40B4-BE49-F238E27FC236}">
                    <a16:creationId xmlns:a16="http://schemas.microsoft.com/office/drawing/2014/main" id="{48E85530-B2E6-45FF-994A-B66B2074AF13}"/>
                  </a:ext>
                </a:extLst>
              </p:cNvPr>
              <p:cNvSpPr>
                <a:spLocks/>
              </p:cNvSpPr>
              <p:nvPr/>
            </p:nvSpPr>
            <p:spPr bwMode="auto">
              <a:xfrm>
                <a:off x="6450470" y="3051469"/>
                <a:ext cx="0" cy="183671"/>
              </a:xfrm>
              <a:custGeom>
                <a:avLst/>
                <a:gdLst>
                  <a:gd name="T0" fmla="*/ 0 h 166"/>
                  <a:gd name="T1" fmla="*/ 166 h 166"/>
                  <a:gd name="T2" fmla="*/ 0 h 166"/>
                </a:gdLst>
                <a:ahLst/>
                <a:cxnLst>
                  <a:cxn ang="0">
                    <a:pos x="0" y="T0"/>
                  </a:cxn>
                  <a:cxn ang="0">
                    <a:pos x="0" y="T1"/>
                  </a:cxn>
                  <a:cxn ang="0">
                    <a:pos x="0" y="T2"/>
                  </a:cxn>
                </a:cxnLst>
                <a:rect l="0" t="0" r="r" b="b"/>
                <a:pathLst>
                  <a:path h="166">
                    <a:moveTo>
                      <a:pt x="0" y="0"/>
                    </a:moveTo>
                    <a:lnTo>
                      <a:pt x="0" y="166"/>
                    </a:lnTo>
                    <a:lnTo>
                      <a:pt x="0" y="0"/>
                    </a:ln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6" name="Line 106">
                <a:extLst>
                  <a:ext uri="{FF2B5EF4-FFF2-40B4-BE49-F238E27FC236}">
                    <a16:creationId xmlns:a16="http://schemas.microsoft.com/office/drawing/2014/main" id="{3B666423-5A0F-43DA-A6D2-49D3389A43DF}"/>
                  </a:ext>
                </a:extLst>
              </p:cNvPr>
              <p:cNvSpPr>
                <a:spLocks noChangeShapeType="1"/>
              </p:cNvSpPr>
              <p:nvPr/>
            </p:nvSpPr>
            <p:spPr bwMode="auto">
              <a:xfrm>
                <a:off x="6450470" y="3051469"/>
                <a:ext cx="0" cy="183671"/>
              </a:xfrm>
              <a:prstGeom prst="line">
                <a:avLst/>
              </a:pr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32" name="Freeform 103">
              <a:extLst>
                <a:ext uri="{FF2B5EF4-FFF2-40B4-BE49-F238E27FC236}">
                  <a16:creationId xmlns:a16="http://schemas.microsoft.com/office/drawing/2014/main" id="{9286FE84-7252-4558-A569-39F5FF863BFF}"/>
                </a:ext>
              </a:extLst>
            </p:cNvPr>
            <p:cNvSpPr>
              <a:spLocks/>
            </p:cNvSpPr>
            <p:nvPr/>
          </p:nvSpPr>
          <p:spPr bwMode="auto">
            <a:xfrm>
              <a:off x="4909691" y="3554782"/>
              <a:ext cx="365129" cy="323084"/>
            </a:xfrm>
            <a:custGeom>
              <a:avLst/>
              <a:gdLst>
                <a:gd name="T0" fmla="*/ 268 w 314"/>
                <a:gd name="T1" fmla="*/ 0 h 274"/>
                <a:gd name="T2" fmla="*/ 46 w 314"/>
                <a:gd name="T3" fmla="*/ 0 h 274"/>
                <a:gd name="T4" fmla="*/ 0 w 314"/>
                <a:gd name="T5" fmla="*/ 48 h 274"/>
                <a:gd name="T6" fmla="*/ 0 w 314"/>
                <a:gd name="T7" fmla="*/ 166 h 274"/>
                <a:gd name="T8" fmla="*/ 46 w 314"/>
                <a:gd name="T9" fmla="*/ 214 h 274"/>
                <a:gd name="T10" fmla="*/ 46 w 314"/>
                <a:gd name="T11" fmla="*/ 274 h 274"/>
                <a:gd name="T12" fmla="*/ 108 w 314"/>
                <a:gd name="T13" fmla="*/ 214 h 274"/>
                <a:gd name="T14" fmla="*/ 268 w 314"/>
                <a:gd name="T15" fmla="*/ 214 h 274"/>
                <a:gd name="T16" fmla="*/ 314 w 314"/>
                <a:gd name="T17" fmla="*/ 166 h 274"/>
                <a:gd name="T18" fmla="*/ 314 w 314"/>
                <a:gd name="T19" fmla="*/ 48 h 274"/>
                <a:gd name="T20" fmla="*/ 268 w 314"/>
                <a:gd name="T2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4" h="274">
                  <a:moveTo>
                    <a:pt x="268" y="0"/>
                  </a:moveTo>
                  <a:cubicBezTo>
                    <a:pt x="46" y="0"/>
                    <a:pt x="46" y="0"/>
                    <a:pt x="46" y="0"/>
                  </a:cubicBezTo>
                  <a:cubicBezTo>
                    <a:pt x="21" y="0"/>
                    <a:pt x="0" y="22"/>
                    <a:pt x="0" y="48"/>
                  </a:cubicBezTo>
                  <a:cubicBezTo>
                    <a:pt x="0" y="166"/>
                    <a:pt x="0" y="166"/>
                    <a:pt x="0" y="166"/>
                  </a:cubicBezTo>
                  <a:cubicBezTo>
                    <a:pt x="0" y="192"/>
                    <a:pt x="21" y="214"/>
                    <a:pt x="46" y="214"/>
                  </a:cubicBezTo>
                  <a:cubicBezTo>
                    <a:pt x="46" y="274"/>
                    <a:pt x="46" y="274"/>
                    <a:pt x="46" y="274"/>
                  </a:cubicBezTo>
                  <a:cubicBezTo>
                    <a:pt x="108" y="214"/>
                    <a:pt x="108" y="214"/>
                    <a:pt x="108" y="214"/>
                  </a:cubicBezTo>
                  <a:cubicBezTo>
                    <a:pt x="268" y="214"/>
                    <a:pt x="268" y="214"/>
                    <a:pt x="268" y="214"/>
                  </a:cubicBezTo>
                  <a:cubicBezTo>
                    <a:pt x="293" y="214"/>
                    <a:pt x="314" y="192"/>
                    <a:pt x="314" y="166"/>
                  </a:cubicBezTo>
                  <a:cubicBezTo>
                    <a:pt x="314" y="48"/>
                    <a:pt x="314" y="48"/>
                    <a:pt x="314" y="48"/>
                  </a:cubicBezTo>
                  <a:cubicBezTo>
                    <a:pt x="314" y="22"/>
                    <a:pt x="293" y="0"/>
                    <a:pt x="268" y="0"/>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3" name="Freeform: Shape 232">
              <a:extLst>
                <a:ext uri="{FF2B5EF4-FFF2-40B4-BE49-F238E27FC236}">
                  <a16:creationId xmlns:a16="http://schemas.microsoft.com/office/drawing/2014/main" id="{B75DD393-F1CF-41B3-8A47-7404CA8F27D6}"/>
                </a:ext>
              </a:extLst>
            </p:cNvPr>
            <p:cNvSpPr>
              <a:spLocks noChangeArrowheads="1"/>
            </p:cNvSpPr>
            <p:nvPr/>
          </p:nvSpPr>
          <p:spPr bwMode="auto">
            <a:xfrm>
              <a:off x="4879179" y="3679809"/>
              <a:ext cx="194735" cy="371768"/>
            </a:xfrm>
            <a:custGeom>
              <a:avLst/>
              <a:gdLst>
                <a:gd name="connsiteX0" fmla="*/ 0 w 194735"/>
                <a:gd name="connsiteY0" fmla="*/ 0 h 371768"/>
                <a:gd name="connsiteX1" fmla="*/ 30980 w 194735"/>
                <a:gd name="connsiteY1" fmla="*/ 0 h 371768"/>
                <a:gd name="connsiteX2" fmla="*/ 30980 w 194735"/>
                <a:gd name="connsiteY2" fmla="*/ 13115 h 371768"/>
                <a:gd name="connsiteX3" fmla="*/ 30980 w 194735"/>
                <a:gd name="connsiteY3" fmla="*/ 71814 h 371768"/>
                <a:gd name="connsiteX4" fmla="*/ 84470 w 194735"/>
                <a:gd name="connsiteY4" fmla="*/ 128413 h 371768"/>
                <a:gd name="connsiteX5" fmla="*/ 84470 w 194735"/>
                <a:gd name="connsiteY5" fmla="*/ 199161 h 371768"/>
                <a:gd name="connsiteX6" fmla="*/ 156566 w 194735"/>
                <a:gd name="connsiteY6" fmla="*/ 128413 h 371768"/>
                <a:gd name="connsiteX7" fmla="*/ 194735 w 194735"/>
                <a:gd name="connsiteY7" fmla="*/ 128413 h 371768"/>
                <a:gd name="connsiteX8" fmla="*/ 194735 w 194735"/>
                <a:gd name="connsiteY8" fmla="*/ 371768 h 371768"/>
                <a:gd name="connsiteX9" fmla="*/ 0 w 194735"/>
                <a:gd name="connsiteY9" fmla="*/ 371768 h 37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735" h="371768">
                  <a:moveTo>
                    <a:pt x="0" y="0"/>
                  </a:moveTo>
                  <a:lnTo>
                    <a:pt x="30980" y="0"/>
                  </a:lnTo>
                  <a:lnTo>
                    <a:pt x="30980" y="13115"/>
                  </a:lnTo>
                  <a:cubicBezTo>
                    <a:pt x="30980" y="71814"/>
                    <a:pt x="30980" y="71814"/>
                    <a:pt x="30980" y="71814"/>
                  </a:cubicBezTo>
                  <a:cubicBezTo>
                    <a:pt x="30980" y="102472"/>
                    <a:pt x="55400" y="128413"/>
                    <a:pt x="84470" y="128413"/>
                  </a:cubicBezTo>
                  <a:cubicBezTo>
                    <a:pt x="84470" y="199161"/>
                    <a:pt x="84470" y="199161"/>
                    <a:pt x="84470" y="199161"/>
                  </a:cubicBezTo>
                  <a:cubicBezTo>
                    <a:pt x="156566" y="128413"/>
                    <a:pt x="156566" y="128413"/>
                    <a:pt x="156566" y="128413"/>
                  </a:cubicBezTo>
                  <a:lnTo>
                    <a:pt x="194735" y="128413"/>
                  </a:lnTo>
                  <a:lnTo>
                    <a:pt x="194735" y="371768"/>
                  </a:lnTo>
                  <a:lnTo>
                    <a:pt x="0" y="371768"/>
                  </a:ln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 name="Group 1">
            <a:extLst>
              <a:ext uri="{FF2B5EF4-FFF2-40B4-BE49-F238E27FC236}">
                <a16:creationId xmlns:a16="http://schemas.microsoft.com/office/drawing/2014/main" id="{71F2A8CF-AEFD-4183-9C66-4A47D288223C}"/>
              </a:ext>
            </a:extLst>
          </p:cNvPr>
          <p:cNvGrpSpPr/>
          <p:nvPr/>
        </p:nvGrpSpPr>
        <p:grpSpPr>
          <a:xfrm rot="21157630">
            <a:off x="857326" y="2257107"/>
            <a:ext cx="4452898" cy="4021439"/>
            <a:chOff x="275242" y="1728537"/>
            <a:chExt cx="4452898" cy="4021439"/>
          </a:xfrm>
        </p:grpSpPr>
        <p:sp>
          <p:nvSpPr>
            <p:cNvPr id="4" name="Partial Circle 3"/>
            <p:cNvSpPr/>
            <p:nvPr/>
          </p:nvSpPr>
          <p:spPr bwMode="auto">
            <a:xfrm>
              <a:off x="275242" y="2650635"/>
              <a:ext cx="4452898" cy="3099341"/>
            </a:xfrm>
            <a:prstGeom prst="pie">
              <a:avLst>
                <a:gd name="adj1" fmla="val 0"/>
                <a:gd name="adj2" fmla="val 10788378"/>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2599632" rIns="0" bIns="0" numCol="1" rtlCol="0" anchor="b" anchorCtr="0" compatLnSpc="1">
              <a:prstTxWarp prst="textNoShape">
                <a:avLst/>
              </a:prstTxWarp>
            </a:bodyPr>
            <a:lstStyle/>
            <a:p>
              <a:pPr marL="0" marR="0" lvl="0" indent="0" algn="ctr" defTabSz="914460" rtl="0" eaLnBrk="1" fontAlgn="auto" latinLnBrk="0" hangingPunct="1">
                <a:lnSpc>
                  <a:spcPct val="100000"/>
                </a:lnSpc>
                <a:spcBef>
                  <a:spcPts val="0"/>
                </a:spcBef>
                <a:spcAft>
                  <a:spcPts val="588"/>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light"/>
                  <a:ea typeface="+mn-ea"/>
                  <a:cs typeface="+mn-cs"/>
                </a:rPr>
                <a:t>Short-Term Survival</a:t>
              </a:r>
            </a:p>
            <a:p>
              <a:pPr marL="0" marR="0" lvl="0" indent="0" algn="ctr" defTabSz="914460" rtl="0" eaLnBrk="1" fontAlgn="auto" latinLnBrk="0" hangingPunct="1">
                <a:lnSpc>
                  <a:spcPct val="100000"/>
                </a:lnSpc>
                <a:spcBef>
                  <a:spcPts val="0"/>
                </a:spcBef>
                <a:spcAft>
                  <a:spcPts val="588"/>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 name="Freeform: Shape 27"/>
            <p:cNvSpPr>
              <a:spLocks/>
            </p:cNvSpPr>
            <p:nvPr/>
          </p:nvSpPr>
          <p:spPr bwMode="auto">
            <a:xfrm>
              <a:off x="993718" y="1728537"/>
              <a:ext cx="2999008" cy="2463899"/>
            </a:xfrm>
            <a:custGeom>
              <a:avLst/>
              <a:gdLst>
                <a:gd name="connsiteX0" fmla="*/ 2815844 w 5631687"/>
                <a:gd name="connsiteY0" fmla="*/ 0 h 4862435"/>
                <a:gd name="connsiteX1" fmla="*/ 5631687 w 5631687"/>
                <a:gd name="connsiteY1" fmla="*/ 4862435 h 4862435"/>
                <a:gd name="connsiteX2" fmla="*/ 2815844 w 5631687"/>
                <a:gd name="connsiteY2" fmla="*/ 3698785 h 4862435"/>
                <a:gd name="connsiteX3" fmla="*/ 0 w 5631687"/>
                <a:gd name="connsiteY3" fmla="*/ 4862435 h 4862435"/>
                <a:gd name="connsiteX0" fmla="*/ 2815844 w 5631687"/>
                <a:gd name="connsiteY0" fmla="*/ 3698785 h 4862435"/>
                <a:gd name="connsiteX1" fmla="*/ 0 w 5631687"/>
                <a:gd name="connsiteY1" fmla="*/ 4862435 h 4862435"/>
                <a:gd name="connsiteX2" fmla="*/ 2815844 w 5631687"/>
                <a:gd name="connsiteY2" fmla="*/ 0 h 4862435"/>
                <a:gd name="connsiteX3" fmla="*/ 5631687 w 5631687"/>
                <a:gd name="connsiteY3" fmla="*/ 4862435 h 4862435"/>
                <a:gd name="connsiteX4" fmla="*/ 3189279 w 5631687"/>
                <a:gd name="connsiteY4" fmla="*/ 4072220 h 4862435"/>
                <a:gd name="connsiteX0" fmla="*/ 2815844 w 5631687"/>
                <a:gd name="connsiteY0" fmla="*/ 3698785 h 4862435"/>
                <a:gd name="connsiteX1" fmla="*/ 0 w 5631687"/>
                <a:gd name="connsiteY1" fmla="*/ 4862435 h 4862435"/>
                <a:gd name="connsiteX2" fmla="*/ 2815844 w 5631687"/>
                <a:gd name="connsiteY2" fmla="*/ 0 h 4862435"/>
                <a:gd name="connsiteX3" fmla="*/ 5631687 w 5631687"/>
                <a:gd name="connsiteY3" fmla="*/ 4862435 h 4862435"/>
                <a:gd name="connsiteX0" fmla="*/ 0 w 5631687"/>
                <a:gd name="connsiteY0" fmla="*/ 4862435 h 4862435"/>
                <a:gd name="connsiteX1" fmla="*/ 2815844 w 5631687"/>
                <a:gd name="connsiteY1" fmla="*/ 0 h 4862435"/>
                <a:gd name="connsiteX2" fmla="*/ 5631687 w 5631687"/>
                <a:gd name="connsiteY2" fmla="*/ 4862435 h 4862435"/>
              </a:gdLst>
              <a:ahLst/>
              <a:cxnLst>
                <a:cxn ang="0">
                  <a:pos x="connsiteX0" y="connsiteY0"/>
                </a:cxn>
                <a:cxn ang="0">
                  <a:pos x="connsiteX1" y="connsiteY1"/>
                </a:cxn>
                <a:cxn ang="0">
                  <a:pos x="connsiteX2" y="connsiteY2"/>
                </a:cxn>
              </a:cxnLst>
              <a:rect l="l" t="t" r="r" b="b"/>
              <a:pathLst>
                <a:path w="5631687" h="4862435">
                  <a:moveTo>
                    <a:pt x="0" y="4862435"/>
                  </a:moveTo>
                  <a:lnTo>
                    <a:pt x="2815844" y="0"/>
                  </a:lnTo>
                  <a:lnTo>
                    <a:pt x="5631687" y="4862435"/>
                  </a:lnTo>
                </a:path>
              </a:pathLst>
            </a:custGeom>
            <a:noFill/>
            <a:ln w="28575" cap="rnd">
              <a:solidFill>
                <a:schemeClr val="bg1">
                  <a:lumMod val="50000"/>
                </a:schemeClr>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 name="Oval 25"/>
            <p:cNvSpPr/>
            <p:nvPr/>
          </p:nvSpPr>
          <p:spPr bwMode="auto">
            <a:xfrm>
              <a:off x="941871" y="4111950"/>
              <a:ext cx="169682" cy="169682"/>
            </a:xfrm>
            <a:prstGeom prst="ellipse">
              <a:avLst/>
            </a:prstGeom>
            <a:solidFill>
              <a:schemeClr val="accent1"/>
            </a:solid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0" name="Oval 29"/>
            <p:cNvSpPr/>
            <p:nvPr/>
          </p:nvSpPr>
          <p:spPr bwMode="auto">
            <a:xfrm>
              <a:off x="3875401" y="4111950"/>
              <a:ext cx="169682" cy="169682"/>
            </a:xfrm>
            <a:prstGeom prst="ellipse">
              <a:avLst/>
            </a:prstGeom>
            <a:solidFill>
              <a:schemeClr val="accent1"/>
            </a:solid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116" name="Group 115">
            <a:extLst>
              <a:ext uri="{FF2B5EF4-FFF2-40B4-BE49-F238E27FC236}">
                <a16:creationId xmlns:a16="http://schemas.microsoft.com/office/drawing/2014/main" id="{F0858592-76F6-4F8D-8865-04EED7207E15}"/>
              </a:ext>
            </a:extLst>
          </p:cNvPr>
          <p:cNvGrpSpPr/>
          <p:nvPr/>
        </p:nvGrpSpPr>
        <p:grpSpPr>
          <a:xfrm rot="17801233">
            <a:off x="-132885" y="3113115"/>
            <a:ext cx="2144751" cy="699297"/>
            <a:chOff x="959248" y="4094935"/>
            <a:chExt cx="1286558" cy="706953"/>
          </a:xfrm>
        </p:grpSpPr>
        <p:sp>
          <p:nvSpPr>
            <p:cNvPr id="117" name="Rectangle 116">
              <a:extLst>
                <a:ext uri="{FF2B5EF4-FFF2-40B4-BE49-F238E27FC236}">
                  <a16:creationId xmlns:a16="http://schemas.microsoft.com/office/drawing/2014/main" id="{41F53FD1-162E-44EA-A057-BAEA5DE92850}"/>
                </a:ext>
              </a:extLst>
            </p:cNvPr>
            <p:cNvSpPr/>
            <p:nvPr/>
          </p:nvSpPr>
          <p:spPr>
            <a:xfrm>
              <a:off x="1133502" y="4271608"/>
              <a:ext cx="1112304" cy="46672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Leveraging</a:t>
              </a:r>
              <a:b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br>
              <a: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Cloud </a:t>
              </a:r>
              <a:r>
                <a:rPr kumimoji="0" lang="en-US" altLang="ja-JP"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Computing</a:t>
              </a:r>
              <a:endPar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sp>
          <p:nvSpPr>
            <p:cNvPr id="118" name="Freeform 67">
              <a:extLst>
                <a:ext uri="{FF2B5EF4-FFF2-40B4-BE49-F238E27FC236}">
                  <a16:creationId xmlns:a16="http://schemas.microsoft.com/office/drawing/2014/main" id="{8EEBA3DE-10DC-4D6B-BD73-B29532A966A2}"/>
                </a:ext>
              </a:extLst>
            </p:cNvPr>
            <p:cNvSpPr>
              <a:spLocks/>
            </p:cNvSpPr>
            <p:nvPr/>
          </p:nvSpPr>
          <p:spPr bwMode="auto">
            <a:xfrm>
              <a:off x="959248" y="4094935"/>
              <a:ext cx="1238497" cy="706953"/>
            </a:xfrm>
            <a:custGeom>
              <a:avLst/>
              <a:gdLst>
                <a:gd name="T0" fmla="*/ 733 w 892"/>
                <a:gd name="T1" fmla="*/ 181 h 499"/>
                <a:gd name="T2" fmla="*/ 607 w 892"/>
                <a:gd name="T3" fmla="*/ 121 h 499"/>
                <a:gd name="T4" fmla="*/ 606 w 892"/>
                <a:gd name="T5" fmla="*/ 121 h 499"/>
                <a:gd name="T6" fmla="*/ 451 w 892"/>
                <a:gd name="T7" fmla="*/ 0 h 499"/>
                <a:gd name="T8" fmla="*/ 326 w 892"/>
                <a:gd name="T9" fmla="*/ 60 h 499"/>
                <a:gd name="T10" fmla="*/ 269 w 892"/>
                <a:gd name="T11" fmla="*/ 49 h 499"/>
                <a:gd name="T12" fmla="*/ 110 w 892"/>
                <a:gd name="T13" fmla="*/ 190 h 499"/>
                <a:gd name="T14" fmla="*/ 0 w 892"/>
                <a:gd name="T15" fmla="*/ 340 h 499"/>
                <a:gd name="T16" fmla="*/ 161 w 892"/>
                <a:gd name="T17" fmla="*/ 499 h 499"/>
                <a:gd name="T18" fmla="*/ 731 w 892"/>
                <a:gd name="T19" fmla="*/ 499 h 499"/>
                <a:gd name="T20" fmla="*/ 892 w 892"/>
                <a:gd name="T21" fmla="*/ 340 h 499"/>
                <a:gd name="T22" fmla="*/ 733 w 892"/>
                <a:gd name="T23" fmla="*/ 18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2" h="499">
                  <a:moveTo>
                    <a:pt x="733" y="181"/>
                  </a:moveTo>
                  <a:cubicBezTo>
                    <a:pt x="703" y="144"/>
                    <a:pt x="658" y="121"/>
                    <a:pt x="607" y="121"/>
                  </a:cubicBezTo>
                  <a:cubicBezTo>
                    <a:pt x="607" y="121"/>
                    <a:pt x="607" y="121"/>
                    <a:pt x="606" y="121"/>
                  </a:cubicBezTo>
                  <a:cubicBezTo>
                    <a:pt x="589" y="52"/>
                    <a:pt x="526" y="0"/>
                    <a:pt x="451" y="0"/>
                  </a:cubicBezTo>
                  <a:cubicBezTo>
                    <a:pt x="400" y="0"/>
                    <a:pt x="355" y="23"/>
                    <a:pt x="326" y="60"/>
                  </a:cubicBezTo>
                  <a:cubicBezTo>
                    <a:pt x="308" y="53"/>
                    <a:pt x="289" y="49"/>
                    <a:pt x="269" y="49"/>
                  </a:cubicBezTo>
                  <a:cubicBezTo>
                    <a:pt x="187" y="49"/>
                    <a:pt x="119" y="111"/>
                    <a:pt x="110" y="190"/>
                  </a:cubicBezTo>
                  <a:cubicBezTo>
                    <a:pt x="46" y="211"/>
                    <a:pt x="0" y="270"/>
                    <a:pt x="0" y="340"/>
                  </a:cubicBezTo>
                  <a:cubicBezTo>
                    <a:pt x="0" y="428"/>
                    <a:pt x="72" y="499"/>
                    <a:pt x="161" y="499"/>
                  </a:cubicBezTo>
                  <a:cubicBezTo>
                    <a:pt x="731" y="499"/>
                    <a:pt x="731" y="499"/>
                    <a:pt x="731" y="499"/>
                  </a:cubicBezTo>
                  <a:cubicBezTo>
                    <a:pt x="820" y="499"/>
                    <a:pt x="892" y="428"/>
                    <a:pt x="892" y="340"/>
                  </a:cubicBezTo>
                  <a:cubicBezTo>
                    <a:pt x="892" y="253"/>
                    <a:pt x="821" y="182"/>
                    <a:pt x="733" y="181"/>
                  </a:cubicBezTo>
                  <a:close/>
                </a:path>
              </a:pathLst>
            </a:cu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7"/>
                </a:solidFill>
                <a:effectLst/>
                <a:uLnTx/>
                <a:uFillTx/>
                <a:latin typeface="Segoe UI Semilight"/>
                <a:ea typeface="+mn-ea"/>
                <a:cs typeface="+mn-cs"/>
              </a:endParaRPr>
            </a:p>
          </p:txBody>
        </p:sp>
      </p:grpSp>
      <p:grpSp>
        <p:nvGrpSpPr>
          <p:cNvPr id="221" name="Group 220">
            <a:extLst>
              <a:ext uri="{FF2B5EF4-FFF2-40B4-BE49-F238E27FC236}">
                <a16:creationId xmlns:a16="http://schemas.microsoft.com/office/drawing/2014/main" id="{E0AD3CCD-E25D-4CC8-9E7D-829C09FD7B2B}"/>
              </a:ext>
            </a:extLst>
          </p:cNvPr>
          <p:cNvGrpSpPr/>
          <p:nvPr/>
        </p:nvGrpSpPr>
        <p:grpSpPr>
          <a:xfrm rot="21157630">
            <a:off x="1652275" y="2416846"/>
            <a:ext cx="844693" cy="766557"/>
            <a:chOff x="1396167" y="1740489"/>
            <a:chExt cx="844693" cy="766557"/>
          </a:xfrm>
        </p:grpSpPr>
        <p:sp>
          <p:nvSpPr>
            <p:cNvPr id="31" name="Rectangle 30">
              <a:extLst>
                <a:ext uri="{FF2B5EF4-FFF2-40B4-BE49-F238E27FC236}">
                  <a16:creationId xmlns:a16="http://schemas.microsoft.com/office/drawing/2014/main" id="{41B04C7B-26D8-40A8-B116-13360E465C6A}"/>
                </a:ext>
              </a:extLst>
            </p:cNvPr>
            <p:cNvSpPr/>
            <p:nvPr/>
          </p:nvSpPr>
          <p:spPr>
            <a:xfrm>
              <a:off x="1396167" y="1740489"/>
              <a:ext cx="844693"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Business </a:t>
              </a:r>
              <a:r>
                <a:rPr kumimoji="0" lang="en-US" altLang="ja-JP"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Continuity</a:t>
              </a:r>
              <a:endPar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grpSp>
          <p:nvGrpSpPr>
            <p:cNvPr id="32" name="Group 31">
              <a:extLst>
                <a:ext uri="{FF2B5EF4-FFF2-40B4-BE49-F238E27FC236}">
                  <a16:creationId xmlns:a16="http://schemas.microsoft.com/office/drawing/2014/main" id="{C96BC104-8A24-4438-B07B-A7965A196BAA}"/>
                </a:ext>
              </a:extLst>
            </p:cNvPr>
            <p:cNvGrpSpPr/>
            <p:nvPr/>
          </p:nvGrpSpPr>
          <p:grpSpPr>
            <a:xfrm>
              <a:off x="1435765" y="2167290"/>
              <a:ext cx="577187" cy="339756"/>
              <a:chOff x="-1089025" y="1876425"/>
              <a:chExt cx="1146177" cy="674688"/>
            </a:xfrm>
            <a:noFill/>
          </p:grpSpPr>
          <p:sp>
            <p:nvSpPr>
              <p:cNvPr id="33" name="Freeform 87">
                <a:extLst>
                  <a:ext uri="{FF2B5EF4-FFF2-40B4-BE49-F238E27FC236}">
                    <a16:creationId xmlns:a16="http://schemas.microsoft.com/office/drawing/2014/main" id="{280A64C0-9B29-459F-8215-1E6B44E52089}"/>
                  </a:ext>
                </a:extLst>
              </p:cNvPr>
              <p:cNvSpPr>
                <a:spLocks/>
              </p:cNvSpPr>
              <p:nvPr/>
            </p:nvSpPr>
            <p:spPr bwMode="auto">
              <a:xfrm>
                <a:off x="-1089025" y="2290763"/>
                <a:ext cx="255588" cy="260350"/>
              </a:xfrm>
              <a:custGeom>
                <a:avLst/>
                <a:gdLst>
                  <a:gd name="T0" fmla="*/ 145 w 154"/>
                  <a:gd name="T1" fmla="*/ 95 h 154"/>
                  <a:gd name="T2" fmla="*/ 60 w 154"/>
                  <a:gd name="T3" fmla="*/ 145 h 154"/>
                  <a:gd name="T4" fmla="*/ 10 w 154"/>
                  <a:gd name="T5" fmla="*/ 60 h 154"/>
                  <a:gd name="T6" fmla="*/ 95 w 154"/>
                  <a:gd name="T7" fmla="*/ 10 h 154"/>
                  <a:gd name="T8" fmla="*/ 145 w 154"/>
                  <a:gd name="T9" fmla="*/ 95 h 154"/>
                </a:gdLst>
                <a:ahLst/>
                <a:cxnLst>
                  <a:cxn ang="0">
                    <a:pos x="T0" y="T1"/>
                  </a:cxn>
                  <a:cxn ang="0">
                    <a:pos x="T2" y="T3"/>
                  </a:cxn>
                  <a:cxn ang="0">
                    <a:pos x="T4" y="T5"/>
                  </a:cxn>
                  <a:cxn ang="0">
                    <a:pos x="T6" y="T7"/>
                  </a:cxn>
                  <a:cxn ang="0">
                    <a:pos x="T8" y="T9"/>
                  </a:cxn>
                </a:cxnLst>
                <a:rect l="0" t="0" r="r" b="b"/>
                <a:pathLst>
                  <a:path w="154" h="154">
                    <a:moveTo>
                      <a:pt x="145" y="95"/>
                    </a:moveTo>
                    <a:cubicBezTo>
                      <a:pt x="135" y="132"/>
                      <a:pt x="97" y="154"/>
                      <a:pt x="60" y="145"/>
                    </a:cubicBezTo>
                    <a:cubicBezTo>
                      <a:pt x="22" y="135"/>
                      <a:pt x="0" y="97"/>
                      <a:pt x="10" y="60"/>
                    </a:cubicBezTo>
                    <a:cubicBezTo>
                      <a:pt x="19" y="22"/>
                      <a:pt x="57" y="0"/>
                      <a:pt x="95" y="10"/>
                    </a:cubicBezTo>
                    <a:cubicBezTo>
                      <a:pt x="132" y="19"/>
                      <a:pt x="154" y="57"/>
                      <a:pt x="145" y="95"/>
                    </a:cubicBez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Freeform 88">
                <a:extLst>
                  <a:ext uri="{FF2B5EF4-FFF2-40B4-BE49-F238E27FC236}">
                    <a16:creationId xmlns:a16="http://schemas.microsoft.com/office/drawing/2014/main" id="{84D9AEDF-90D5-43D4-9234-F9EBF816618F}"/>
                  </a:ext>
                </a:extLst>
              </p:cNvPr>
              <p:cNvSpPr>
                <a:spLocks/>
              </p:cNvSpPr>
              <p:nvPr/>
            </p:nvSpPr>
            <p:spPr bwMode="auto">
              <a:xfrm>
                <a:off x="-708025" y="1895475"/>
                <a:ext cx="257175" cy="261937"/>
              </a:xfrm>
              <a:custGeom>
                <a:avLst/>
                <a:gdLst>
                  <a:gd name="T0" fmla="*/ 145 w 155"/>
                  <a:gd name="T1" fmla="*/ 95 h 155"/>
                  <a:gd name="T2" fmla="*/ 60 w 155"/>
                  <a:gd name="T3" fmla="*/ 145 h 155"/>
                  <a:gd name="T4" fmla="*/ 10 w 155"/>
                  <a:gd name="T5" fmla="*/ 60 h 155"/>
                  <a:gd name="T6" fmla="*/ 95 w 155"/>
                  <a:gd name="T7" fmla="*/ 10 h 155"/>
                  <a:gd name="T8" fmla="*/ 145 w 155"/>
                  <a:gd name="T9" fmla="*/ 95 h 155"/>
                </a:gdLst>
                <a:ahLst/>
                <a:cxnLst>
                  <a:cxn ang="0">
                    <a:pos x="T0" y="T1"/>
                  </a:cxn>
                  <a:cxn ang="0">
                    <a:pos x="T2" y="T3"/>
                  </a:cxn>
                  <a:cxn ang="0">
                    <a:pos x="T4" y="T5"/>
                  </a:cxn>
                  <a:cxn ang="0">
                    <a:pos x="T6" y="T7"/>
                  </a:cxn>
                  <a:cxn ang="0">
                    <a:pos x="T8" y="T9"/>
                  </a:cxn>
                </a:cxnLst>
                <a:rect l="0" t="0" r="r" b="b"/>
                <a:pathLst>
                  <a:path w="155" h="155">
                    <a:moveTo>
                      <a:pt x="145" y="95"/>
                    </a:moveTo>
                    <a:cubicBezTo>
                      <a:pt x="136" y="133"/>
                      <a:pt x="97" y="155"/>
                      <a:pt x="60" y="145"/>
                    </a:cubicBezTo>
                    <a:cubicBezTo>
                      <a:pt x="23" y="135"/>
                      <a:pt x="0" y="97"/>
                      <a:pt x="10" y="60"/>
                    </a:cubicBezTo>
                    <a:cubicBezTo>
                      <a:pt x="20" y="23"/>
                      <a:pt x="58" y="0"/>
                      <a:pt x="95" y="10"/>
                    </a:cubicBezTo>
                    <a:cubicBezTo>
                      <a:pt x="133" y="20"/>
                      <a:pt x="155" y="58"/>
                      <a:pt x="145" y="95"/>
                    </a:cubicBez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89">
                <a:extLst>
                  <a:ext uri="{FF2B5EF4-FFF2-40B4-BE49-F238E27FC236}">
                    <a16:creationId xmlns:a16="http://schemas.microsoft.com/office/drawing/2014/main" id="{DC9A800D-3510-48E2-88EC-63CBBEF6ACED}"/>
                  </a:ext>
                </a:extLst>
              </p:cNvPr>
              <p:cNvSpPr>
                <a:spLocks/>
              </p:cNvSpPr>
              <p:nvPr/>
            </p:nvSpPr>
            <p:spPr bwMode="auto">
              <a:xfrm>
                <a:off x="-428625" y="2119313"/>
                <a:ext cx="257175" cy="258762"/>
              </a:xfrm>
              <a:custGeom>
                <a:avLst/>
                <a:gdLst>
                  <a:gd name="T0" fmla="*/ 145 w 155"/>
                  <a:gd name="T1" fmla="*/ 95 h 154"/>
                  <a:gd name="T2" fmla="*/ 60 w 155"/>
                  <a:gd name="T3" fmla="*/ 145 h 154"/>
                  <a:gd name="T4" fmla="*/ 10 w 155"/>
                  <a:gd name="T5" fmla="*/ 59 h 154"/>
                  <a:gd name="T6" fmla="*/ 95 w 155"/>
                  <a:gd name="T7" fmla="*/ 9 h 154"/>
                  <a:gd name="T8" fmla="*/ 145 w 155"/>
                  <a:gd name="T9" fmla="*/ 95 h 154"/>
                </a:gdLst>
                <a:ahLst/>
                <a:cxnLst>
                  <a:cxn ang="0">
                    <a:pos x="T0" y="T1"/>
                  </a:cxn>
                  <a:cxn ang="0">
                    <a:pos x="T2" y="T3"/>
                  </a:cxn>
                  <a:cxn ang="0">
                    <a:pos x="T4" y="T5"/>
                  </a:cxn>
                  <a:cxn ang="0">
                    <a:pos x="T6" y="T7"/>
                  </a:cxn>
                  <a:cxn ang="0">
                    <a:pos x="T8" y="T9"/>
                  </a:cxn>
                </a:cxnLst>
                <a:rect l="0" t="0" r="r" b="b"/>
                <a:pathLst>
                  <a:path w="155" h="154">
                    <a:moveTo>
                      <a:pt x="145" y="95"/>
                    </a:moveTo>
                    <a:cubicBezTo>
                      <a:pt x="135" y="132"/>
                      <a:pt x="97" y="154"/>
                      <a:pt x="60" y="145"/>
                    </a:cubicBezTo>
                    <a:cubicBezTo>
                      <a:pt x="22" y="135"/>
                      <a:pt x="0" y="97"/>
                      <a:pt x="10" y="59"/>
                    </a:cubicBezTo>
                    <a:cubicBezTo>
                      <a:pt x="20" y="22"/>
                      <a:pt x="58" y="0"/>
                      <a:pt x="95" y="9"/>
                    </a:cubicBezTo>
                    <a:cubicBezTo>
                      <a:pt x="132" y="19"/>
                      <a:pt x="155" y="57"/>
                      <a:pt x="145" y="95"/>
                    </a:cubicBez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Line 91">
                <a:extLst>
                  <a:ext uri="{FF2B5EF4-FFF2-40B4-BE49-F238E27FC236}">
                    <a16:creationId xmlns:a16="http://schemas.microsoft.com/office/drawing/2014/main" id="{089CC26D-DCE5-425F-9037-BFE7263A4493}"/>
                  </a:ext>
                </a:extLst>
              </p:cNvPr>
              <p:cNvSpPr>
                <a:spLocks noChangeShapeType="1"/>
              </p:cNvSpPr>
              <p:nvPr/>
            </p:nvSpPr>
            <p:spPr bwMode="auto">
              <a:xfrm flipV="1">
                <a:off x="-874110" y="2109787"/>
                <a:ext cx="212123" cy="225363"/>
              </a:xfrm>
              <a:prstGeom prst="line">
                <a:avLst/>
              </a:pr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Line 93">
                <a:extLst>
                  <a:ext uri="{FF2B5EF4-FFF2-40B4-BE49-F238E27FC236}">
                    <a16:creationId xmlns:a16="http://schemas.microsoft.com/office/drawing/2014/main" id="{25C02D13-4993-4B68-AFC5-204454005D6C}"/>
                  </a:ext>
                </a:extLst>
              </p:cNvPr>
              <p:cNvSpPr>
                <a:spLocks noChangeShapeType="1"/>
              </p:cNvSpPr>
              <p:nvPr/>
            </p:nvSpPr>
            <p:spPr bwMode="auto">
              <a:xfrm>
                <a:off x="-491068" y="2109788"/>
                <a:ext cx="94193" cy="68260"/>
              </a:xfrm>
              <a:prstGeom prst="line">
                <a:avLst/>
              </a:pr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95">
                <a:extLst>
                  <a:ext uri="{FF2B5EF4-FFF2-40B4-BE49-F238E27FC236}">
                    <a16:creationId xmlns:a16="http://schemas.microsoft.com/office/drawing/2014/main" id="{F242AE8E-2609-4514-B717-436496BA8AA6}"/>
                  </a:ext>
                </a:extLst>
              </p:cNvPr>
              <p:cNvSpPr>
                <a:spLocks noChangeShapeType="1"/>
              </p:cNvSpPr>
              <p:nvPr/>
            </p:nvSpPr>
            <p:spPr bwMode="auto">
              <a:xfrm flipV="1">
                <a:off x="-225954" y="1876425"/>
                <a:ext cx="283106" cy="274020"/>
              </a:xfrm>
              <a:prstGeom prst="line">
                <a:avLst/>
              </a:pr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Freeform 96">
                <a:extLst>
                  <a:ext uri="{FF2B5EF4-FFF2-40B4-BE49-F238E27FC236}">
                    <a16:creationId xmlns:a16="http://schemas.microsoft.com/office/drawing/2014/main" id="{BBD4B98B-1BE7-4A49-80A1-F8A592BA8AE1}"/>
                  </a:ext>
                </a:extLst>
              </p:cNvPr>
              <p:cNvSpPr>
                <a:spLocks/>
              </p:cNvSpPr>
              <p:nvPr/>
            </p:nvSpPr>
            <p:spPr bwMode="auto">
              <a:xfrm>
                <a:off x="-122238" y="1876425"/>
                <a:ext cx="179388" cy="182562"/>
              </a:xfrm>
              <a:custGeom>
                <a:avLst/>
                <a:gdLst>
                  <a:gd name="T0" fmla="*/ 0 w 113"/>
                  <a:gd name="T1" fmla="*/ 0 h 115"/>
                  <a:gd name="T2" fmla="*/ 113 w 113"/>
                  <a:gd name="T3" fmla="*/ 0 h 115"/>
                  <a:gd name="T4" fmla="*/ 113 w 113"/>
                  <a:gd name="T5" fmla="*/ 115 h 115"/>
                </a:gdLst>
                <a:ahLst/>
                <a:cxnLst>
                  <a:cxn ang="0">
                    <a:pos x="T0" y="T1"/>
                  </a:cxn>
                  <a:cxn ang="0">
                    <a:pos x="T2" y="T3"/>
                  </a:cxn>
                  <a:cxn ang="0">
                    <a:pos x="T4" y="T5"/>
                  </a:cxn>
                </a:cxnLst>
                <a:rect l="0" t="0" r="r" b="b"/>
                <a:pathLst>
                  <a:path w="113" h="115">
                    <a:moveTo>
                      <a:pt x="0" y="0"/>
                    </a:moveTo>
                    <a:lnTo>
                      <a:pt x="113" y="0"/>
                    </a:lnTo>
                    <a:lnTo>
                      <a:pt x="113" y="115"/>
                    </a:lnTo>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12" name="Group 11">
            <a:extLst>
              <a:ext uri="{FF2B5EF4-FFF2-40B4-BE49-F238E27FC236}">
                <a16:creationId xmlns:a16="http://schemas.microsoft.com/office/drawing/2014/main" id="{B73F57BF-1685-4536-A106-1AB1E89C32BA}"/>
              </a:ext>
            </a:extLst>
          </p:cNvPr>
          <p:cNvGrpSpPr/>
          <p:nvPr/>
        </p:nvGrpSpPr>
        <p:grpSpPr>
          <a:xfrm rot="21157630">
            <a:off x="1224257" y="3456247"/>
            <a:ext cx="953783" cy="809527"/>
            <a:chOff x="3418099" y="2085858"/>
            <a:chExt cx="953783" cy="809527"/>
          </a:xfrm>
        </p:grpSpPr>
        <p:sp>
          <p:nvSpPr>
            <p:cNvPr id="43" name="Rectangle 42">
              <a:extLst>
                <a:ext uri="{FF2B5EF4-FFF2-40B4-BE49-F238E27FC236}">
                  <a16:creationId xmlns:a16="http://schemas.microsoft.com/office/drawing/2014/main" id="{687F85E9-E615-4ED8-B60C-8114EAC25139}"/>
                </a:ext>
              </a:extLst>
            </p:cNvPr>
            <p:cNvSpPr/>
            <p:nvPr/>
          </p:nvSpPr>
          <p:spPr>
            <a:xfrm>
              <a:off x="3418099" y="2433720"/>
              <a:ext cx="953783"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rPr>
                <a:t>Reducing Costs</a:t>
              </a:r>
            </a:p>
          </p:txBody>
        </p:sp>
        <p:grpSp>
          <p:nvGrpSpPr>
            <p:cNvPr id="10" name="Group 9">
              <a:extLst>
                <a:ext uri="{FF2B5EF4-FFF2-40B4-BE49-F238E27FC236}">
                  <a16:creationId xmlns:a16="http://schemas.microsoft.com/office/drawing/2014/main" id="{4DEE730C-A4FF-46A4-8917-90D70D99F613}"/>
                </a:ext>
              </a:extLst>
            </p:cNvPr>
            <p:cNvGrpSpPr/>
            <p:nvPr/>
          </p:nvGrpSpPr>
          <p:grpSpPr>
            <a:xfrm>
              <a:off x="3722492" y="2085858"/>
              <a:ext cx="399919" cy="373255"/>
              <a:chOff x="5268043" y="7345971"/>
              <a:chExt cx="486223" cy="453805"/>
            </a:xfrm>
          </p:grpSpPr>
          <p:sp>
            <p:nvSpPr>
              <p:cNvPr id="46" name="Rectangle 37">
                <a:extLst>
                  <a:ext uri="{FF2B5EF4-FFF2-40B4-BE49-F238E27FC236}">
                    <a16:creationId xmlns:a16="http://schemas.microsoft.com/office/drawing/2014/main" id="{26C6FC8E-2442-41AC-8178-BD3826DEF5F5}"/>
                  </a:ext>
                </a:extLst>
              </p:cNvPr>
              <p:cNvSpPr>
                <a:spLocks noChangeArrowheads="1"/>
              </p:cNvSpPr>
              <p:nvPr/>
            </p:nvSpPr>
            <p:spPr bwMode="auto">
              <a:xfrm>
                <a:off x="5437744" y="7345971"/>
                <a:ext cx="144914" cy="143006"/>
              </a:xfrm>
              <a:prstGeom prst="rect">
                <a:avLst/>
              </a:prstGeom>
              <a:noFill/>
              <a:ln w="12700">
                <a:solidFill>
                  <a:schemeClr val="accent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7" name="Rectangle 38">
                <a:extLst>
                  <a:ext uri="{FF2B5EF4-FFF2-40B4-BE49-F238E27FC236}">
                    <a16:creationId xmlns:a16="http://schemas.microsoft.com/office/drawing/2014/main" id="{62A13CF4-3B39-4B62-ABCD-5D5DB59CED74}"/>
                  </a:ext>
                </a:extLst>
              </p:cNvPr>
              <p:cNvSpPr>
                <a:spLocks noChangeArrowheads="1"/>
              </p:cNvSpPr>
              <p:nvPr/>
            </p:nvSpPr>
            <p:spPr bwMode="auto">
              <a:xfrm>
                <a:off x="5268043" y="7658677"/>
                <a:ext cx="143007" cy="141099"/>
              </a:xfrm>
              <a:prstGeom prst="rect">
                <a:avLst/>
              </a:prstGeom>
              <a:noFill/>
              <a:ln w="12700">
                <a:solidFill>
                  <a:schemeClr val="accent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Rectangle 39">
                <a:extLst>
                  <a:ext uri="{FF2B5EF4-FFF2-40B4-BE49-F238E27FC236}">
                    <a16:creationId xmlns:a16="http://schemas.microsoft.com/office/drawing/2014/main" id="{98C43D26-EE3D-4B9F-B5BE-BCF17C2FFFBF}"/>
                  </a:ext>
                </a:extLst>
              </p:cNvPr>
              <p:cNvSpPr>
                <a:spLocks noChangeArrowheads="1"/>
              </p:cNvSpPr>
              <p:nvPr/>
            </p:nvSpPr>
            <p:spPr bwMode="auto">
              <a:xfrm>
                <a:off x="5609352" y="7658677"/>
                <a:ext cx="144914" cy="141099"/>
              </a:xfrm>
              <a:prstGeom prst="rect">
                <a:avLst/>
              </a:prstGeom>
              <a:noFill/>
              <a:ln w="12700">
                <a:solidFill>
                  <a:schemeClr val="accent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9" name="Line 40">
                <a:extLst>
                  <a:ext uri="{FF2B5EF4-FFF2-40B4-BE49-F238E27FC236}">
                    <a16:creationId xmlns:a16="http://schemas.microsoft.com/office/drawing/2014/main" id="{56726D1D-5C94-4465-BE8F-89E8C68788D5}"/>
                  </a:ext>
                </a:extLst>
              </p:cNvPr>
              <p:cNvSpPr>
                <a:spLocks noChangeShapeType="1"/>
              </p:cNvSpPr>
              <p:nvPr/>
            </p:nvSpPr>
            <p:spPr bwMode="auto">
              <a:xfrm flipH="1" flipV="1">
                <a:off x="5550243" y="7492791"/>
                <a:ext cx="91525" cy="162074"/>
              </a:xfrm>
              <a:prstGeom prst="line">
                <a:avLst/>
              </a:prstGeom>
              <a:noFill/>
              <a:ln w="12700">
                <a:solidFill>
                  <a:schemeClr val="accent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0" name="Line 41">
                <a:extLst>
                  <a:ext uri="{FF2B5EF4-FFF2-40B4-BE49-F238E27FC236}">
                    <a16:creationId xmlns:a16="http://schemas.microsoft.com/office/drawing/2014/main" id="{DD0DDE23-1311-4A15-A37C-D92139FE94F2}"/>
                  </a:ext>
                </a:extLst>
              </p:cNvPr>
              <p:cNvSpPr>
                <a:spLocks noChangeShapeType="1"/>
              </p:cNvSpPr>
              <p:nvPr/>
            </p:nvSpPr>
            <p:spPr bwMode="auto">
              <a:xfrm>
                <a:off x="5409143" y="7727320"/>
                <a:ext cx="200209" cy="0"/>
              </a:xfrm>
              <a:prstGeom prst="line">
                <a:avLst/>
              </a:prstGeom>
              <a:noFill/>
              <a:ln w="12700">
                <a:solidFill>
                  <a:schemeClr val="accent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Line 42">
                <a:extLst>
                  <a:ext uri="{FF2B5EF4-FFF2-40B4-BE49-F238E27FC236}">
                    <a16:creationId xmlns:a16="http://schemas.microsoft.com/office/drawing/2014/main" id="{F40DC67B-7AD5-4B07-8C43-73E025B651C6}"/>
                  </a:ext>
                </a:extLst>
              </p:cNvPr>
              <p:cNvSpPr>
                <a:spLocks noChangeShapeType="1"/>
              </p:cNvSpPr>
              <p:nvPr/>
            </p:nvSpPr>
            <p:spPr bwMode="auto">
              <a:xfrm flipH="1">
                <a:off x="5378635" y="7492791"/>
                <a:ext cx="91525" cy="162074"/>
              </a:xfrm>
              <a:prstGeom prst="line">
                <a:avLst/>
              </a:prstGeom>
              <a:noFill/>
              <a:ln w="12700">
                <a:solidFill>
                  <a:schemeClr val="accent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52" name="Rectangle 51">
            <a:extLst>
              <a:ext uri="{FF2B5EF4-FFF2-40B4-BE49-F238E27FC236}">
                <a16:creationId xmlns:a16="http://schemas.microsoft.com/office/drawing/2014/main" id="{2F2E4ED8-F13F-41F0-8C11-825C0C13193B}"/>
              </a:ext>
            </a:extLst>
          </p:cNvPr>
          <p:cNvSpPr/>
          <p:nvPr/>
        </p:nvSpPr>
        <p:spPr>
          <a:xfrm rot="21157630">
            <a:off x="2474748" y="2877699"/>
            <a:ext cx="937264"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Risk Modeling</a:t>
            </a:r>
          </a:p>
        </p:txBody>
      </p:sp>
      <p:grpSp>
        <p:nvGrpSpPr>
          <p:cNvPr id="8" name="Group 7">
            <a:extLst>
              <a:ext uri="{FF2B5EF4-FFF2-40B4-BE49-F238E27FC236}">
                <a16:creationId xmlns:a16="http://schemas.microsoft.com/office/drawing/2014/main" id="{1FD133AD-A3B4-46B8-A165-314667DAB1E4}"/>
              </a:ext>
            </a:extLst>
          </p:cNvPr>
          <p:cNvGrpSpPr/>
          <p:nvPr/>
        </p:nvGrpSpPr>
        <p:grpSpPr>
          <a:xfrm rot="21157630">
            <a:off x="2754373" y="2625655"/>
            <a:ext cx="275116" cy="278816"/>
            <a:chOff x="2872876" y="7712322"/>
            <a:chExt cx="354013" cy="358774"/>
          </a:xfrm>
        </p:grpSpPr>
        <p:sp>
          <p:nvSpPr>
            <p:cNvPr id="54" name="Freeform 5">
              <a:extLst>
                <a:ext uri="{FF2B5EF4-FFF2-40B4-BE49-F238E27FC236}">
                  <a16:creationId xmlns:a16="http://schemas.microsoft.com/office/drawing/2014/main" id="{22860223-1FC5-4B72-88D8-3621E88FF4B9}"/>
                </a:ext>
              </a:extLst>
            </p:cNvPr>
            <p:cNvSpPr>
              <a:spLocks/>
            </p:cNvSpPr>
            <p:nvPr/>
          </p:nvSpPr>
          <p:spPr bwMode="auto">
            <a:xfrm>
              <a:off x="2872876" y="7712322"/>
              <a:ext cx="354013" cy="358774"/>
            </a:xfrm>
            <a:custGeom>
              <a:avLst/>
              <a:gdLst>
                <a:gd name="T0" fmla="*/ 202 w 211"/>
                <a:gd name="T1" fmla="*/ 89 h 211"/>
                <a:gd name="T2" fmla="*/ 122 w 211"/>
                <a:gd name="T3" fmla="*/ 201 h 211"/>
                <a:gd name="T4" fmla="*/ 10 w 211"/>
                <a:gd name="T5" fmla="*/ 122 h 211"/>
                <a:gd name="T6" fmla="*/ 89 w 211"/>
                <a:gd name="T7" fmla="*/ 9 h 211"/>
                <a:gd name="T8" fmla="*/ 202 w 211"/>
                <a:gd name="T9" fmla="*/ 89 h 211"/>
              </a:gdLst>
              <a:ahLst/>
              <a:cxnLst>
                <a:cxn ang="0">
                  <a:pos x="T0" y="T1"/>
                </a:cxn>
                <a:cxn ang="0">
                  <a:pos x="T2" y="T3"/>
                </a:cxn>
                <a:cxn ang="0">
                  <a:pos x="T4" y="T5"/>
                </a:cxn>
                <a:cxn ang="0">
                  <a:pos x="T6" y="T7"/>
                </a:cxn>
                <a:cxn ang="0">
                  <a:pos x="T8" y="T9"/>
                </a:cxn>
              </a:cxnLst>
              <a:rect l="0" t="0" r="r" b="b"/>
              <a:pathLst>
                <a:path w="211" h="211">
                  <a:moveTo>
                    <a:pt x="202" y="89"/>
                  </a:moveTo>
                  <a:cubicBezTo>
                    <a:pt x="211" y="142"/>
                    <a:pt x="175" y="192"/>
                    <a:pt x="122" y="201"/>
                  </a:cubicBezTo>
                  <a:cubicBezTo>
                    <a:pt x="69" y="211"/>
                    <a:pt x="19" y="175"/>
                    <a:pt x="10" y="122"/>
                  </a:cubicBezTo>
                  <a:cubicBezTo>
                    <a:pt x="0" y="69"/>
                    <a:pt x="36" y="18"/>
                    <a:pt x="89" y="9"/>
                  </a:cubicBezTo>
                  <a:cubicBezTo>
                    <a:pt x="142" y="0"/>
                    <a:pt x="193" y="36"/>
                    <a:pt x="202" y="89"/>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5" name="Line 6">
              <a:extLst>
                <a:ext uri="{FF2B5EF4-FFF2-40B4-BE49-F238E27FC236}">
                  <a16:creationId xmlns:a16="http://schemas.microsoft.com/office/drawing/2014/main" id="{A8BD2FFA-A380-4FCA-99FB-1A30BAE89D92}"/>
                </a:ext>
              </a:extLst>
            </p:cNvPr>
            <p:cNvSpPr>
              <a:spLocks noChangeShapeType="1"/>
            </p:cNvSpPr>
            <p:nvPr/>
          </p:nvSpPr>
          <p:spPr bwMode="auto">
            <a:xfrm>
              <a:off x="3022101" y="7728197"/>
              <a:ext cx="55563" cy="32543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6" name="Freeform 7">
              <a:extLst>
                <a:ext uri="{FF2B5EF4-FFF2-40B4-BE49-F238E27FC236}">
                  <a16:creationId xmlns:a16="http://schemas.microsoft.com/office/drawing/2014/main" id="{997F6B5E-05D0-4794-A720-E219C4509AE0}"/>
                </a:ext>
              </a:extLst>
            </p:cNvPr>
            <p:cNvSpPr>
              <a:spLocks/>
            </p:cNvSpPr>
            <p:nvPr/>
          </p:nvSpPr>
          <p:spPr bwMode="auto">
            <a:xfrm>
              <a:off x="2937963" y="7718672"/>
              <a:ext cx="223838" cy="346075"/>
            </a:xfrm>
            <a:custGeom>
              <a:avLst/>
              <a:gdLst>
                <a:gd name="T0" fmla="*/ 124 w 133"/>
                <a:gd name="T1" fmla="*/ 92 h 203"/>
                <a:gd name="T2" fmla="*/ 83 w 133"/>
                <a:gd name="T3" fmla="*/ 197 h 203"/>
                <a:gd name="T4" fmla="*/ 9 w 133"/>
                <a:gd name="T5" fmla="*/ 111 h 203"/>
                <a:gd name="T6" fmla="*/ 50 w 133"/>
                <a:gd name="T7" fmla="*/ 5 h 203"/>
                <a:gd name="T8" fmla="*/ 124 w 133"/>
                <a:gd name="T9" fmla="*/ 92 h 203"/>
              </a:gdLst>
              <a:ahLst/>
              <a:cxnLst>
                <a:cxn ang="0">
                  <a:pos x="T0" y="T1"/>
                </a:cxn>
                <a:cxn ang="0">
                  <a:pos x="T2" y="T3"/>
                </a:cxn>
                <a:cxn ang="0">
                  <a:pos x="T4" y="T5"/>
                </a:cxn>
                <a:cxn ang="0">
                  <a:pos x="T6" y="T7"/>
                </a:cxn>
                <a:cxn ang="0">
                  <a:pos x="T8" y="T9"/>
                </a:cxn>
              </a:cxnLst>
              <a:rect l="0" t="0" r="r" b="b"/>
              <a:pathLst>
                <a:path w="133" h="203">
                  <a:moveTo>
                    <a:pt x="124" y="92"/>
                  </a:moveTo>
                  <a:cubicBezTo>
                    <a:pt x="133" y="145"/>
                    <a:pt x="115" y="192"/>
                    <a:pt x="83" y="197"/>
                  </a:cubicBezTo>
                  <a:cubicBezTo>
                    <a:pt x="52" y="203"/>
                    <a:pt x="18" y="164"/>
                    <a:pt x="9" y="111"/>
                  </a:cubicBezTo>
                  <a:cubicBezTo>
                    <a:pt x="0" y="58"/>
                    <a:pt x="19" y="11"/>
                    <a:pt x="50" y="5"/>
                  </a:cubicBezTo>
                  <a:cubicBezTo>
                    <a:pt x="82" y="0"/>
                    <a:pt x="115" y="38"/>
                    <a:pt x="124" y="92"/>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7" name="Freeform 8">
              <a:extLst>
                <a:ext uri="{FF2B5EF4-FFF2-40B4-BE49-F238E27FC236}">
                  <a16:creationId xmlns:a16="http://schemas.microsoft.com/office/drawing/2014/main" id="{8F07EFFC-24EB-44FC-9F9C-2BCDAF585179}"/>
                </a:ext>
              </a:extLst>
            </p:cNvPr>
            <p:cNvSpPr>
              <a:spLocks/>
            </p:cNvSpPr>
            <p:nvPr/>
          </p:nvSpPr>
          <p:spPr bwMode="auto">
            <a:xfrm>
              <a:off x="2899863" y="7956797"/>
              <a:ext cx="163513" cy="41275"/>
            </a:xfrm>
            <a:custGeom>
              <a:avLst/>
              <a:gdLst>
                <a:gd name="T0" fmla="*/ 0 w 98"/>
                <a:gd name="T1" fmla="*/ 0 h 24"/>
                <a:gd name="T2" fmla="*/ 98 w 98"/>
                <a:gd name="T3" fmla="*/ 13 h 24"/>
              </a:gdLst>
              <a:ahLst/>
              <a:cxnLst>
                <a:cxn ang="0">
                  <a:pos x="T0" y="T1"/>
                </a:cxn>
                <a:cxn ang="0">
                  <a:pos x="T2" y="T3"/>
                </a:cxn>
              </a:cxnLst>
              <a:rect l="0" t="0" r="r" b="b"/>
              <a:pathLst>
                <a:path w="98" h="24">
                  <a:moveTo>
                    <a:pt x="0" y="0"/>
                  </a:moveTo>
                  <a:cubicBezTo>
                    <a:pt x="0" y="0"/>
                    <a:pt x="31" y="24"/>
                    <a:pt x="98" y="13"/>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8" name="Freeform 9">
              <a:extLst>
                <a:ext uri="{FF2B5EF4-FFF2-40B4-BE49-F238E27FC236}">
                  <a16:creationId xmlns:a16="http://schemas.microsoft.com/office/drawing/2014/main" id="{03D063FA-EF30-4EF7-869D-7C739A9F3762}"/>
                </a:ext>
              </a:extLst>
            </p:cNvPr>
            <p:cNvSpPr>
              <a:spLocks/>
            </p:cNvSpPr>
            <p:nvPr/>
          </p:nvSpPr>
          <p:spPr bwMode="auto">
            <a:xfrm>
              <a:off x="3063376" y="7904409"/>
              <a:ext cx="147638" cy="73025"/>
            </a:xfrm>
            <a:custGeom>
              <a:avLst/>
              <a:gdLst>
                <a:gd name="T0" fmla="*/ 88 w 88"/>
                <a:gd name="T1" fmla="*/ 0 h 43"/>
                <a:gd name="T2" fmla="*/ 0 w 88"/>
                <a:gd name="T3" fmla="*/ 43 h 43"/>
              </a:gdLst>
              <a:ahLst/>
              <a:cxnLst>
                <a:cxn ang="0">
                  <a:pos x="T0" y="T1"/>
                </a:cxn>
                <a:cxn ang="0">
                  <a:pos x="T2" y="T3"/>
                </a:cxn>
              </a:cxnLst>
              <a:rect l="0" t="0" r="r" b="b"/>
              <a:pathLst>
                <a:path w="88" h="43">
                  <a:moveTo>
                    <a:pt x="88" y="0"/>
                  </a:moveTo>
                  <a:cubicBezTo>
                    <a:pt x="88" y="0"/>
                    <a:pt x="67" y="32"/>
                    <a:pt x="0" y="43"/>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9" name="Freeform 10">
              <a:extLst>
                <a:ext uri="{FF2B5EF4-FFF2-40B4-BE49-F238E27FC236}">
                  <a16:creationId xmlns:a16="http://schemas.microsoft.com/office/drawing/2014/main" id="{91A2D2AA-90D1-4A64-BECF-9B9F0968B980}"/>
                </a:ext>
              </a:extLst>
            </p:cNvPr>
            <p:cNvSpPr>
              <a:spLocks/>
            </p:cNvSpPr>
            <p:nvPr/>
          </p:nvSpPr>
          <p:spPr bwMode="auto">
            <a:xfrm>
              <a:off x="2885576" y="7875834"/>
              <a:ext cx="165100" cy="41275"/>
            </a:xfrm>
            <a:custGeom>
              <a:avLst/>
              <a:gdLst>
                <a:gd name="T0" fmla="*/ 0 w 98"/>
                <a:gd name="T1" fmla="*/ 0 h 24"/>
                <a:gd name="T2" fmla="*/ 98 w 98"/>
                <a:gd name="T3" fmla="*/ 13 h 24"/>
              </a:gdLst>
              <a:ahLst/>
              <a:cxnLst>
                <a:cxn ang="0">
                  <a:pos x="T0" y="T1"/>
                </a:cxn>
                <a:cxn ang="0">
                  <a:pos x="T2" y="T3"/>
                </a:cxn>
              </a:cxnLst>
              <a:rect l="0" t="0" r="r" b="b"/>
              <a:pathLst>
                <a:path w="98" h="24">
                  <a:moveTo>
                    <a:pt x="0" y="0"/>
                  </a:moveTo>
                  <a:cubicBezTo>
                    <a:pt x="0" y="0"/>
                    <a:pt x="31" y="24"/>
                    <a:pt x="98" y="13"/>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0" name="Freeform 11">
              <a:extLst>
                <a:ext uri="{FF2B5EF4-FFF2-40B4-BE49-F238E27FC236}">
                  <a16:creationId xmlns:a16="http://schemas.microsoft.com/office/drawing/2014/main" id="{B7A40474-F6DF-4E90-9C5E-0DE4AFC22C7F}"/>
                </a:ext>
              </a:extLst>
            </p:cNvPr>
            <p:cNvSpPr>
              <a:spLocks/>
            </p:cNvSpPr>
            <p:nvPr/>
          </p:nvSpPr>
          <p:spPr bwMode="auto">
            <a:xfrm>
              <a:off x="3050676" y="7825034"/>
              <a:ext cx="149225" cy="73025"/>
            </a:xfrm>
            <a:custGeom>
              <a:avLst/>
              <a:gdLst>
                <a:gd name="T0" fmla="*/ 89 w 89"/>
                <a:gd name="T1" fmla="*/ 0 h 43"/>
                <a:gd name="T2" fmla="*/ 0 w 89"/>
                <a:gd name="T3" fmla="*/ 43 h 43"/>
              </a:gdLst>
              <a:ahLst/>
              <a:cxnLst>
                <a:cxn ang="0">
                  <a:pos x="T0" y="T1"/>
                </a:cxn>
                <a:cxn ang="0">
                  <a:pos x="T2" y="T3"/>
                </a:cxn>
              </a:cxnLst>
              <a:rect l="0" t="0" r="r" b="b"/>
              <a:pathLst>
                <a:path w="89" h="43">
                  <a:moveTo>
                    <a:pt x="89" y="0"/>
                  </a:moveTo>
                  <a:cubicBezTo>
                    <a:pt x="89" y="0"/>
                    <a:pt x="67" y="32"/>
                    <a:pt x="0" y="43"/>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1" name="Freeform 12">
              <a:extLst>
                <a:ext uri="{FF2B5EF4-FFF2-40B4-BE49-F238E27FC236}">
                  <a16:creationId xmlns:a16="http://schemas.microsoft.com/office/drawing/2014/main" id="{66656CC1-5831-49EA-80B9-D398691FB535}"/>
                </a:ext>
              </a:extLst>
            </p:cNvPr>
            <p:cNvSpPr>
              <a:spLocks/>
            </p:cNvSpPr>
            <p:nvPr/>
          </p:nvSpPr>
          <p:spPr bwMode="auto">
            <a:xfrm>
              <a:off x="2914151" y="7798047"/>
              <a:ext cx="120650" cy="20637"/>
            </a:xfrm>
            <a:custGeom>
              <a:avLst/>
              <a:gdLst>
                <a:gd name="T0" fmla="*/ 0 w 72"/>
                <a:gd name="T1" fmla="*/ 0 h 13"/>
                <a:gd name="T2" fmla="*/ 72 w 72"/>
                <a:gd name="T3" fmla="*/ 7 h 13"/>
              </a:gdLst>
              <a:ahLst/>
              <a:cxnLst>
                <a:cxn ang="0">
                  <a:pos x="T0" y="T1"/>
                </a:cxn>
                <a:cxn ang="0">
                  <a:pos x="T2" y="T3"/>
                </a:cxn>
              </a:cxnLst>
              <a:rect l="0" t="0" r="r" b="b"/>
              <a:pathLst>
                <a:path w="72" h="13">
                  <a:moveTo>
                    <a:pt x="0" y="0"/>
                  </a:moveTo>
                  <a:cubicBezTo>
                    <a:pt x="13" y="6"/>
                    <a:pt x="37" y="13"/>
                    <a:pt x="72" y="7"/>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2" name="Freeform 13">
              <a:extLst>
                <a:ext uri="{FF2B5EF4-FFF2-40B4-BE49-F238E27FC236}">
                  <a16:creationId xmlns:a16="http://schemas.microsoft.com/office/drawing/2014/main" id="{D25D6D15-37FC-46E3-869D-660A7B68FD49}"/>
                </a:ext>
              </a:extLst>
            </p:cNvPr>
            <p:cNvSpPr>
              <a:spLocks/>
            </p:cNvSpPr>
            <p:nvPr/>
          </p:nvSpPr>
          <p:spPr bwMode="auto">
            <a:xfrm>
              <a:off x="3034801" y="7758359"/>
              <a:ext cx="112713" cy="50800"/>
            </a:xfrm>
            <a:custGeom>
              <a:avLst/>
              <a:gdLst>
                <a:gd name="T0" fmla="*/ 67 w 67"/>
                <a:gd name="T1" fmla="*/ 0 h 30"/>
                <a:gd name="T2" fmla="*/ 0 w 67"/>
                <a:gd name="T3" fmla="*/ 30 h 30"/>
              </a:gdLst>
              <a:ahLst/>
              <a:cxnLst>
                <a:cxn ang="0">
                  <a:pos x="T0" y="T1"/>
                </a:cxn>
                <a:cxn ang="0">
                  <a:pos x="T2" y="T3"/>
                </a:cxn>
              </a:cxnLst>
              <a:rect l="0" t="0" r="r" b="b"/>
              <a:pathLst>
                <a:path w="67" h="30">
                  <a:moveTo>
                    <a:pt x="67" y="0"/>
                  </a:moveTo>
                  <a:cubicBezTo>
                    <a:pt x="56" y="10"/>
                    <a:pt x="36" y="24"/>
                    <a:pt x="0" y="3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1" name="Group 6">
            <a:extLst>
              <a:ext uri="{FF2B5EF4-FFF2-40B4-BE49-F238E27FC236}">
                <a16:creationId xmlns:a16="http://schemas.microsoft.com/office/drawing/2014/main" id="{47B66264-6C76-4198-ADF4-5BA9882F3239}"/>
              </a:ext>
            </a:extLst>
          </p:cNvPr>
          <p:cNvGrpSpPr/>
          <p:nvPr/>
        </p:nvGrpSpPr>
        <p:grpSpPr>
          <a:xfrm rot="1318225">
            <a:off x="858087" y="4324676"/>
            <a:ext cx="1219489" cy="603749"/>
            <a:chOff x="581358" y="3315057"/>
            <a:chExt cx="1219489" cy="603749"/>
          </a:xfrm>
        </p:grpSpPr>
        <p:sp>
          <p:nvSpPr>
            <p:cNvPr id="64" name="Rectangle 16">
              <a:extLst>
                <a:ext uri="{FF2B5EF4-FFF2-40B4-BE49-F238E27FC236}">
                  <a16:creationId xmlns:a16="http://schemas.microsoft.com/office/drawing/2014/main" id="{1146E725-36B0-4D21-9FFF-18080501394C}"/>
                </a:ext>
              </a:extLst>
            </p:cNvPr>
            <p:cNvSpPr/>
            <p:nvPr/>
          </p:nvSpPr>
          <p:spPr>
            <a:xfrm rot="19963816">
              <a:off x="581918" y="3595641"/>
              <a:ext cx="1218929" cy="3231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Data Privacy</a:t>
              </a:r>
            </a:p>
          </p:txBody>
        </p:sp>
        <p:pic>
          <p:nvPicPr>
            <p:cNvPr id="65" name="Graphic 64" descr="Lock">
              <a:extLst>
                <a:ext uri="{FF2B5EF4-FFF2-40B4-BE49-F238E27FC236}">
                  <a16:creationId xmlns:a16="http://schemas.microsoft.com/office/drawing/2014/main" id="{D183D633-8B92-466B-A8FD-85662781B8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9516033">
              <a:off x="581358" y="3315057"/>
              <a:ext cx="497621" cy="497621"/>
            </a:xfrm>
            <a:prstGeom prst="rect">
              <a:avLst/>
            </a:prstGeom>
          </p:spPr>
        </p:pic>
      </p:grpSp>
      <p:grpSp>
        <p:nvGrpSpPr>
          <p:cNvPr id="15" name="Group 14">
            <a:extLst>
              <a:ext uri="{FF2B5EF4-FFF2-40B4-BE49-F238E27FC236}">
                <a16:creationId xmlns:a16="http://schemas.microsoft.com/office/drawing/2014/main" id="{C9C91F51-28E4-4E44-9ED4-51D7CE45FB74}"/>
              </a:ext>
            </a:extLst>
          </p:cNvPr>
          <p:cNvGrpSpPr/>
          <p:nvPr/>
        </p:nvGrpSpPr>
        <p:grpSpPr>
          <a:xfrm rot="21157630">
            <a:off x="2365797" y="3219293"/>
            <a:ext cx="1361819" cy="461665"/>
            <a:chOff x="3344678" y="1964932"/>
            <a:chExt cx="1361819" cy="461665"/>
          </a:xfrm>
        </p:grpSpPr>
        <p:sp>
          <p:nvSpPr>
            <p:cNvPr id="67" name="Rectangle 66">
              <a:extLst>
                <a:ext uri="{FF2B5EF4-FFF2-40B4-BE49-F238E27FC236}">
                  <a16:creationId xmlns:a16="http://schemas.microsoft.com/office/drawing/2014/main" id="{A4F10358-B82E-4394-99F3-AF5865C7E3EC}"/>
                </a:ext>
              </a:extLst>
            </p:cNvPr>
            <p:cNvSpPr/>
            <p:nvPr/>
          </p:nvSpPr>
          <p:spPr>
            <a:xfrm>
              <a:off x="3764630" y="1964932"/>
              <a:ext cx="941867"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Client Solvency</a:t>
              </a:r>
            </a:p>
          </p:txBody>
        </p:sp>
        <p:grpSp>
          <p:nvGrpSpPr>
            <p:cNvPr id="68" name="Group 67">
              <a:extLst>
                <a:ext uri="{FF2B5EF4-FFF2-40B4-BE49-F238E27FC236}">
                  <a16:creationId xmlns:a16="http://schemas.microsoft.com/office/drawing/2014/main" id="{354E6651-7FCA-450C-95E4-13F3E2D94DF1}"/>
                </a:ext>
              </a:extLst>
            </p:cNvPr>
            <p:cNvGrpSpPr/>
            <p:nvPr/>
          </p:nvGrpSpPr>
          <p:grpSpPr>
            <a:xfrm>
              <a:off x="3344678" y="2101492"/>
              <a:ext cx="426980" cy="215244"/>
              <a:chOff x="2778363" y="3438655"/>
              <a:chExt cx="438046" cy="220822"/>
            </a:xfrm>
          </p:grpSpPr>
          <p:sp>
            <p:nvSpPr>
              <p:cNvPr id="69" name="Freeform: Shape 68">
                <a:extLst>
                  <a:ext uri="{FF2B5EF4-FFF2-40B4-BE49-F238E27FC236}">
                    <a16:creationId xmlns:a16="http://schemas.microsoft.com/office/drawing/2014/main" id="{6F89991A-D0D4-4A1C-BDC1-0FC17DF0546C}"/>
                  </a:ext>
                </a:extLst>
              </p:cNvPr>
              <p:cNvSpPr/>
              <p:nvPr/>
            </p:nvSpPr>
            <p:spPr bwMode="auto">
              <a:xfrm>
                <a:off x="2778363" y="3438655"/>
                <a:ext cx="438046" cy="220822"/>
              </a:xfrm>
              <a:custGeom>
                <a:avLst/>
                <a:gdLst>
                  <a:gd name="connsiteX0" fmla="*/ 567922 w 1135845"/>
                  <a:gd name="connsiteY0" fmla="*/ 0 h 278391"/>
                  <a:gd name="connsiteX1" fmla="*/ 1126871 w 1135845"/>
                  <a:gd name="connsiteY1" fmla="*/ 129121 h 278391"/>
                  <a:gd name="connsiteX2" fmla="*/ 1135845 w 1135845"/>
                  <a:gd name="connsiteY2" fmla="*/ 139196 h 278391"/>
                  <a:gd name="connsiteX3" fmla="*/ 1126871 w 1135845"/>
                  <a:gd name="connsiteY3" fmla="*/ 149270 h 278391"/>
                  <a:gd name="connsiteX4" fmla="*/ 567922 w 1135845"/>
                  <a:gd name="connsiteY4" fmla="*/ 278391 h 278391"/>
                  <a:gd name="connsiteX5" fmla="*/ 8973 w 1135845"/>
                  <a:gd name="connsiteY5" fmla="*/ 149270 h 278391"/>
                  <a:gd name="connsiteX6" fmla="*/ 0 w 1135845"/>
                  <a:gd name="connsiteY6" fmla="*/ 139196 h 278391"/>
                  <a:gd name="connsiteX7" fmla="*/ 8973 w 1135845"/>
                  <a:gd name="connsiteY7" fmla="*/ 129121 h 278391"/>
                  <a:gd name="connsiteX8" fmla="*/ 567922 w 1135845"/>
                  <a:gd name="connsiteY8" fmla="*/ 0 h 27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845" h="278391">
                    <a:moveTo>
                      <a:pt x="567922" y="0"/>
                    </a:moveTo>
                    <a:cubicBezTo>
                      <a:pt x="819192" y="0"/>
                      <a:pt x="1034781" y="53242"/>
                      <a:pt x="1126871" y="129121"/>
                    </a:cubicBezTo>
                    <a:lnTo>
                      <a:pt x="1135845" y="139196"/>
                    </a:lnTo>
                    <a:lnTo>
                      <a:pt x="1126871" y="149270"/>
                    </a:lnTo>
                    <a:cubicBezTo>
                      <a:pt x="1034781" y="225149"/>
                      <a:pt x="819192" y="278391"/>
                      <a:pt x="567922" y="278391"/>
                    </a:cubicBezTo>
                    <a:cubicBezTo>
                      <a:pt x="316652" y="278391"/>
                      <a:pt x="101063" y="225149"/>
                      <a:pt x="8973" y="149270"/>
                    </a:cubicBezTo>
                    <a:lnTo>
                      <a:pt x="0" y="139196"/>
                    </a:lnTo>
                    <a:lnTo>
                      <a:pt x="8973" y="129121"/>
                    </a:lnTo>
                    <a:cubicBezTo>
                      <a:pt x="101063" y="53242"/>
                      <a:pt x="316652" y="0"/>
                      <a:pt x="567922" y="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B7D89CB7-E159-4965-AABD-7BAA57378710}"/>
                  </a:ext>
                </a:extLst>
              </p:cNvPr>
              <p:cNvSpPr/>
              <p:nvPr/>
            </p:nvSpPr>
            <p:spPr bwMode="auto">
              <a:xfrm>
                <a:off x="2926443" y="3464284"/>
                <a:ext cx="175502" cy="175502"/>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74" name="Rectangle 73">
            <a:extLst>
              <a:ext uri="{FF2B5EF4-FFF2-40B4-BE49-F238E27FC236}">
                <a16:creationId xmlns:a16="http://schemas.microsoft.com/office/drawing/2014/main" id="{32B0CA6B-9A6C-455A-9E06-FBF03490AFC8}"/>
              </a:ext>
            </a:extLst>
          </p:cNvPr>
          <p:cNvSpPr/>
          <p:nvPr/>
        </p:nvSpPr>
        <p:spPr>
          <a:xfrm rot="21157630">
            <a:off x="3579732" y="4102912"/>
            <a:ext cx="1296931"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rPr>
              <a:t>Banker</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rPr>
              <a:t>Productivity</a:t>
            </a:r>
          </a:p>
        </p:txBody>
      </p:sp>
      <p:sp>
        <p:nvSpPr>
          <p:cNvPr id="76" name="Rectangle 75">
            <a:extLst>
              <a:ext uri="{FF2B5EF4-FFF2-40B4-BE49-F238E27FC236}">
                <a16:creationId xmlns:a16="http://schemas.microsoft.com/office/drawing/2014/main" id="{60280808-64D9-4BE4-B1F0-95E47C6F055F}"/>
              </a:ext>
            </a:extLst>
          </p:cNvPr>
          <p:cNvSpPr/>
          <p:nvPr/>
        </p:nvSpPr>
        <p:spPr>
          <a:xfrm rot="21157630">
            <a:off x="2570494" y="3874787"/>
            <a:ext cx="1425087" cy="492436"/>
          </a:xfrm>
          <a:prstGeom prst="rect">
            <a:avLst/>
          </a:prstGeom>
        </p:spPr>
        <p:txBody>
          <a:bodyPr wrap="square" lIns="91440" tIns="91440" rIns="91440" bIns="9144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light"/>
                <a:ea typeface="+mn-ea"/>
                <a:cs typeface="Segoe UI Semilight" panose="020B0402040204020203" pitchFamily="34" charset="0"/>
              </a:rPr>
              <a:t>Customer Retention</a:t>
            </a:r>
          </a:p>
        </p:txBody>
      </p:sp>
      <p:sp>
        <p:nvSpPr>
          <p:cNvPr id="97" name="Rectangle 96">
            <a:extLst>
              <a:ext uri="{FF2B5EF4-FFF2-40B4-BE49-F238E27FC236}">
                <a16:creationId xmlns:a16="http://schemas.microsoft.com/office/drawing/2014/main" id="{26A2B8E8-09E5-4A3B-8869-00634BD3DE54}"/>
              </a:ext>
            </a:extLst>
          </p:cNvPr>
          <p:cNvSpPr/>
          <p:nvPr/>
        </p:nvSpPr>
        <p:spPr>
          <a:xfrm rot="21157630">
            <a:off x="4533011" y="4089679"/>
            <a:ext cx="1278080" cy="338554"/>
          </a:xfrm>
          <a:prstGeom prst="rect">
            <a:avLst/>
          </a:prstGeom>
        </p:spPr>
        <p:txBody>
          <a:bodyPr wrap="square" lIns="91440" tIns="91440" rIns="91440" bIns="9144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light"/>
                <a:ea typeface="+mn-ea"/>
                <a:cs typeface="Segoe UI Semilight" panose="020B0402040204020203" pitchFamily="34" charset="0"/>
              </a:rPr>
              <a:t>Fraud Prevention</a:t>
            </a:r>
          </a:p>
        </p:txBody>
      </p:sp>
      <p:grpSp>
        <p:nvGrpSpPr>
          <p:cNvPr id="98" name="Group 97">
            <a:extLst>
              <a:ext uri="{FF2B5EF4-FFF2-40B4-BE49-F238E27FC236}">
                <a16:creationId xmlns:a16="http://schemas.microsoft.com/office/drawing/2014/main" id="{0893329D-5E10-47DF-90EE-B7FADA6B0F25}"/>
              </a:ext>
            </a:extLst>
          </p:cNvPr>
          <p:cNvGrpSpPr/>
          <p:nvPr/>
        </p:nvGrpSpPr>
        <p:grpSpPr>
          <a:xfrm rot="21157630">
            <a:off x="4454891" y="3786251"/>
            <a:ext cx="420287" cy="424922"/>
            <a:chOff x="1601788" y="7545388"/>
            <a:chExt cx="431800" cy="436563"/>
          </a:xfrm>
          <a:solidFill>
            <a:schemeClr val="accent1"/>
          </a:solidFill>
        </p:grpSpPr>
        <p:sp>
          <p:nvSpPr>
            <p:cNvPr id="99" name="Freeform 26">
              <a:extLst>
                <a:ext uri="{FF2B5EF4-FFF2-40B4-BE49-F238E27FC236}">
                  <a16:creationId xmlns:a16="http://schemas.microsoft.com/office/drawing/2014/main" id="{35416C4D-49F1-475F-9B97-923DF7251559}"/>
                </a:ext>
              </a:extLst>
            </p:cNvPr>
            <p:cNvSpPr>
              <a:spLocks noEditPoints="1"/>
            </p:cNvSpPr>
            <p:nvPr/>
          </p:nvSpPr>
          <p:spPr bwMode="auto">
            <a:xfrm>
              <a:off x="1754188" y="7621588"/>
              <a:ext cx="88900" cy="176213"/>
            </a:xfrm>
            <a:custGeom>
              <a:avLst/>
              <a:gdLst>
                <a:gd name="T0" fmla="*/ 63 w 87"/>
                <a:gd name="T1" fmla="*/ 0 h 172"/>
                <a:gd name="T2" fmla="*/ 39 w 87"/>
                <a:gd name="T3" fmla="*/ 24 h 172"/>
                <a:gd name="T4" fmla="*/ 56 w 87"/>
                <a:gd name="T5" fmla="*/ 47 h 172"/>
                <a:gd name="T6" fmla="*/ 56 w 87"/>
                <a:gd name="T7" fmla="*/ 108 h 172"/>
                <a:gd name="T8" fmla="*/ 37 w 87"/>
                <a:gd name="T9" fmla="*/ 127 h 172"/>
                <a:gd name="T10" fmla="*/ 24 w 87"/>
                <a:gd name="T11" fmla="*/ 123 h 172"/>
                <a:gd name="T12" fmla="*/ 0 w 87"/>
                <a:gd name="T13" fmla="*/ 148 h 172"/>
                <a:gd name="T14" fmla="*/ 24 w 87"/>
                <a:gd name="T15" fmla="*/ 172 h 172"/>
                <a:gd name="T16" fmla="*/ 48 w 87"/>
                <a:gd name="T17" fmla="*/ 148 h 172"/>
                <a:gd name="T18" fmla="*/ 46 w 87"/>
                <a:gd name="T19" fmla="*/ 138 h 172"/>
                <a:gd name="T20" fmla="*/ 70 w 87"/>
                <a:gd name="T21" fmla="*/ 114 h 172"/>
                <a:gd name="T22" fmla="*/ 70 w 87"/>
                <a:gd name="T23" fmla="*/ 47 h 172"/>
                <a:gd name="T24" fmla="*/ 87 w 87"/>
                <a:gd name="T25" fmla="*/ 24 h 172"/>
                <a:gd name="T26" fmla="*/ 63 w 87"/>
                <a:gd name="T27" fmla="*/ 0 h 172"/>
                <a:gd name="T28" fmla="*/ 24 w 87"/>
                <a:gd name="T29" fmla="*/ 158 h 172"/>
                <a:gd name="T30" fmla="*/ 14 w 87"/>
                <a:gd name="T31" fmla="*/ 148 h 172"/>
                <a:gd name="T32" fmla="*/ 24 w 87"/>
                <a:gd name="T33" fmla="*/ 137 h 172"/>
                <a:gd name="T34" fmla="*/ 34 w 87"/>
                <a:gd name="T35" fmla="*/ 148 h 172"/>
                <a:gd name="T36" fmla="*/ 24 w 87"/>
                <a:gd name="T37" fmla="*/ 158 h 172"/>
                <a:gd name="T38" fmla="*/ 63 w 87"/>
                <a:gd name="T39" fmla="*/ 34 h 172"/>
                <a:gd name="T40" fmla="*/ 53 w 87"/>
                <a:gd name="T41" fmla="*/ 24 h 172"/>
                <a:gd name="T42" fmla="*/ 63 w 87"/>
                <a:gd name="T43" fmla="*/ 14 h 172"/>
                <a:gd name="T44" fmla="*/ 73 w 87"/>
                <a:gd name="T45" fmla="*/ 24 h 172"/>
                <a:gd name="T46" fmla="*/ 63 w 87"/>
                <a:gd name="T47" fmla="*/ 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172">
                  <a:moveTo>
                    <a:pt x="63" y="0"/>
                  </a:moveTo>
                  <a:cubicBezTo>
                    <a:pt x="50" y="0"/>
                    <a:pt x="39" y="11"/>
                    <a:pt x="39" y="24"/>
                  </a:cubicBezTo>
                  <a:cubicBezTo>
                    <a:pt x="39" y="35"/>
                    <a:pt x="46" y="44"/>
                    <a:pt x="56" y="47"/>
                  </a:cubicBezTo>
                  <a:cubicBezTo>
                    <a:pt x="56" y="108"/>
                    <a:pt x="56" y="108"/>
                    <a:pt x="56" y="108"/>
                  </a:cubicBezTo>
                  <a:cubicBezTo>
                    <a:pt x="37" y="127"/>
                    <a:pt x="37" y="127"/>
                    <a:pt x="37" y="127"/>
                  </a:cubicBezTo>
                  <a:cubicBezTo>
                    <a:pt x="33" y="125"/>
                    <a:pt x="29" y="123"/>
                    <a:pt x="24" y="123"/>
                  </a:cubicBezTo>
                  <a:cubicBezTo>
                    <a:pt x="11" y="123"/>
                    <a:pt x="0" y="134"/>
                    <a:pt x="0" y="148"/>
                  </a:cubicBezTo>
                  <a:cubicBezTo>
                    <a:pt x="0" y="161"/>
                    <a:pt x="11" y="172"/>
                    <a:pt x="24" y="172"/>
                  </a:cubicBezTo>
                  <a:cubicBezTo>
                    <a:pt x="37" y="172"/>
                    <a:pt x="48" y="161"/>
                    <a:pt x="48" y="148"/>
                  </a:cubicBezTo>
                  <a:cubicBezTo>
                    <a:pt x="48" y="144"/>
                    <a:pt x="47" y="141"/>
                    <a:pt x="46" y="138"/>
                  </a:cubicBezTo>
                  <a:cubicBezTo>
                    <a:pt x="70" y="114"/>
                    <a:pt x="70" y="114"/>
                    <a:pt x="70" y="114"/>
                  </a:cubicBezTo>
                  <a:cubicBezTo>
                    <a:pt x="70" y="47"/>
                    <a:pt x="70" y="47"/>
                    <a:pt x="70" y="47"/>
                  </a:cubicBezTo>
                  <a:cubicBezTo>
                    <a:pt x="80" y="44"/>
                    <a:pt x="87" y="35"/>
                    <a:pt x="87" y="24"/>
                  </a:cubicBezTo>
                  <a:cubicBezTo>
                    <a:pt x="87" y="11"/>
                    <a:pt x="76" y="0"/>
                    <a:pt x="63" y="0"/>
                  </a:cubicBezTo>
                  <a:close/>
                  <a:moveTo>
                    <a:pt x="24" y="158"/>
                  </a:moveTo>
                  <a:cubicBezTo>
                    <a:pt x="19" y="158"/>
                    <a:pt x="14" y="153"/>
                    <a:pt x="14" y="148"/>
                  </a:cubicBezTo>
                  <a:cubicBezTo>
                    <a:pt x="14" y="142"/>
                    <a:pt x="19" y="137"/>
                    <a:pt x="24" y="137"/>
                  </a:cubicBezTo>
                  <a:cubicBezTo>
                    <a:pt x="30" y="137"/>
                    <a:pt x="34" y="142"/>
                    <a:pt x="34" y="148"/>
                  </a:cubicBezTo>
                  <a:cubicBezTo>
                    <a:pt x="34" y="153"/>
                    <a:pt x="30" y="158"/>
                    <a:pt x="24" y="158"/>
                  </a:cubicBezTo>
                  <a:close/>
                  <a:moveTo>
                    <a:pt x="63" y="34"/>
                  </a:moveTo>
                  <a:cubicBezTo>
                    <a:pt x="57" y="34"/>
                    <a:pt x="53" y="30"/>
                    <a:pt x="53" y="24"/>
                  </a:cubicBezTo>
                  <a:cubicBezTo>
                    <a:pt x="53" y="19"/>
                    <a:pt x="57" y="14"/>
                    <a:pt x="63" y="14"/>
                  </a:cubicBezTo>
                  <a:cubicBezTo>
                    <a:pt x="68" y="14"/>
                    <a:pt x="73" y="19"/>
                    <a:pt x="73" y="24"/>
                  </a:cubicBezTo>
                  <a:cubicBezTo>
                    <a:pt x="73" y="30"/>
                    <a:pt x="68" y="34"/>
                    <a:pt x="63" y="34"/>
                  </a:cubicBezTo>
                  <a:close/>
                </a:path>
              </a:pathLst>
            </a:custGeom>
            <a:grpFill/>
            <a:ln w="9525">
              <a:no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0" name="Freeform 27">
              <a:extLst>
                <a:ext uri="{FF2B5EF4-FFF2-40B4-BE49-F238E27FC236}">
                  <a16:creationId xmlns:a16="http://schemas.microsoft.com/office/drawing/2014/main" id="{D7543C4C-DD8E-44C4-9CA2-AED3374B4D3E}"/>
                </a:ext>
              </a:extLst>
            </p:cNvPr>
            <p:cNvSpPr>
              <a:spLocks noEditPoints="1"/>
            </p:cNvSpPr>
            <p:nvPr/>
          </p:nvSpPr>
          <p:spPr bwMode="auto">
            <a:xfrm>
              <a:off x="1909763" y="7783513"/>
              <a:ext cx="53975" cy="168275"/>
            </a:xfrm>
            <a:custGeom>
              <a:avLst/>
              <a:gdLst>
                <a:gd name="T0" fmla="*/ 33 w 52"/>
                <a:gd name="T1" fmla="*/ 113 h 164"/>
                <a:gd name="T2" fmla="*/ 33 w 52"/>
                <a:gd name="T3" fmla="*/ 47 h 164"/>
                <a:gd name="T4" fmla="*/ 50 w 52"/>
                <a:gd name="T5" fmla="*/ 24 h 164"/>
                <a:gd name="T6" fmla="*/ 26 w 52"/>
                <a:gd name="T7" fmla="*/ 0 h 164"/>
                <a:gd name="T8" fmla="*/ 2 w 52"/>
                <a:gd name="T9" fmla="*/ 24 h 164"/>
                <a:gd name="T10" fmla="*/ 19 w 52"/>
                <a:gd name="T11" fmla="*/ 47 h 164"/>
                <a:gd name="T12" fmla="*/ 19 w 52"/>
                <a:gd name="T13" fmla="*/ 113 h 164"/>
                <a:gd name="T14" fmla="*/ 0 w 52"/>
                <a:gd name="T15" fmla="*/ 138 h 164"/>
                <a:gd name="T16" fmla="*/ 26 w 52"/>
                <a:gd name="T17" fmla="*/ 164 h 164"/>
                <a:gd name="T18" fmla="*/ 52 w 52"/>
                <a:gd name="T19" fmla="*/ 138 h 164"/>
                <a:gd name="T20" fmla="*/ 33 w 52"/>
                <a:gd name="T21" fmla="*/ 113 h 164"/>
                <a:gd name="T22" fmla="*/ 16 w 52"/>
                <a:gd name="T23" fmla="*/ 24 h 164"/>
                <a:gd name="T24" fmla="*/ 26 w 52"/>
                <a:gd name="T25" fmla="*/ 14 h 164"/>
                <a:gd name="T26" fmla="*/ 36 w 52"/>
                <a:gd name="T27" fmla="*/ 24 h 164"/>
                <a:gd name="T28" fmla="*/ 26 w 52"/>
                <a:gd name="T29" fmla="*/ 34 h 164"/>
                <a:gd name="T30" fmla="*/ 16 w 52"/>
                <a:gd name="T31" fmla="*/ 24 h 164"/>
                <a:gd name="T32" fmla="*/ 26 w 52"/>
                <a:gd name="T33" fmla="*/ 150 h 164"/>
                <a:gd name="T34" fmla="*/ 14 w 52"/>
                <a:gd name="T35" fmla="*/ 138 h 164"/>
                <a:gd name="T36" fmla="*/ 26 w 52"/>
                <a:gd name="T37" fmla="*/ 126 h 164"/>
                <a:gd name="T38" fmla="*/ 38 w 52"/>
                <a:gd name="T39" fmla="*/ 138 h 164"/>
                <a:gd name="T40" fmla="*/ 26 w 52"/>
                <a:gd name="T41"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164">
                  <a:moveTo>
                    <a:pt x="33" y="113"/>
                  </a:moveTo>
                  <a:cubicBezTo>
                    <a:pt x="33" y="47"/>
                    <a:pt x="33" y="47"/>
                    <a:pt x="33" y="47"/>
                  </a:cubicBezTo>
                  <a:cubicBezTo>
                    <a:pt x="43" y="44"/>
                    <a:pt x="50" y="35"/>
                    <a:pt x="50" y="24"/>
                  </a:cubicBezTo>
                  <a:cubicBezTo>
                    <a:pt x="50" y="11"/>
                    <a:pt x="39" y="0"/>
                    <a:pt x="26" y="0"/>
                  </a:cubicBezTo>
                  <a:cubicBezTo>
                    <a:pt x="13" y="0"/>
                    <a:pt x="2" y="11"/>
                    <a:pt x="2" y="24"/>
                  </a:cubicBezTo>
                  <a:cubicBezTo>
                    <a:pt x="2" y="35"/>
                    <a:pt x="9" y="44"/>
                    <a:pt x="19" y="47"/>
                  </a:cubicBezTo>
                  <a:cubicBezTo>
                    <a:pt x="19" y="113"/>
                    <a:pt x="19" y="113"/>
                    <a:pt x="19" y="113"/>
                  </a:cubicBezTo>
                  <a:cubicBezTo>
                    <a:pt x="8" y="116"/>
                    <a:pt x="0" y="126"/>
                    <a:pt x="0" y="138"/>
                  </a:cubicBezTo>
                  <a:cubicBezTo>
                    <a:pt x="0" y="152"/>
                    <a:pt x="12" y="164"/>
                    <a:pt x="26" y="164"/>
                  </a:cubicBezTo>
                  <a:cubicBezTo>
                    <a:pt x="40" y="164"/>
                    <a:pt x="52" y="152"/>
                    <a:pt x="52" y="138"/>
                  </a:cubicBezTo>
                  <a:cubicBezTo>
                    <a:pt x="52" y="126"/>
                    <a:pt x="44" y="116"/>
                    <a:pt x="33" y="113"/>
                  </a:cubicBezTo>
                  <a:close/>
                  <a:moveTo>
                    <a:pt x="16" y="24"/>
                  </a:moveTo>
                  <a:cubicBezTo>
                    <a:pt x="16" y="19"/>
                    <a:pt x="21" y="14"/>
                    <a:pt x="26" y="14"/>
                  </a:cubicBezTo>
                  <a:cubicBezTo>
                    <a:pt x="32" y="14"/>
                    <a:pt x="36" y="19"/>
                    <a:pt x="36" y="24"/>
                  </a:cubicBezTo>
                  <a:cubicBezTo>
                    <a:pt x="36" y="30"/>
                    <a:pt x="32" y="34"/>
                    <a:pt x="26" y="34"/>
                  </a:cubicBezTo>
                  <a:cubicBezTo>
                    <a:pt x="21" y="34"/>
                    <a:pt x="16" y="30"/>
                    <a:pt x="16" y="24"/>
                  </a:cubicBezTo>
                  <a:close/>
                  <a:moveTo>
                    <a:pt x="26" y="150"/>
                  </a:moveTo>
                  <a:cubicBezTo>
                    <a:pt x="20" y="150"/>
                    <a:pt x="14" y="145"/>
                    <a:pt x="14" y="138"/>
                  </a:cubicBezTo>
                  <a:cubicBezTo>
                    <a:pt x="14" y="132"/>
                    <a:pt x="20" y="126"/>
                    <a:pt x="26" y="126"/>
                  </a:cubicBezTo>
                  <a:cubicBezTo>
                    <a:pt x="33" y="126"/>
                    <a:pt x="38" y="132"/>
                    <a:pt x="38" y="138"/>
                  </a:cubicBezTo>
                  <a:cubicBezTo>
                    <a:pt x="38" y="145"/>
                    <a:pt x="33" y="150"/>
                    <a:pt x="26" y="150"/>
                  </a:cubicBezTo>
                  <a:close/>
                </a:path>
              </a:pathLst>
            </a:custGeom>
            <a:grpFill/>
            <a:ln w="9525">
              <a:no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1" name="Freeform 28">
              <a:extLst>
                <a:ext uri="{FF2B5EF4-FFF2-40B4-BE49-F238E27FC236}">
                  <a16:creationId xmlns:a16="http://schemas.microsoft.com/office/drawing/2014/main" id="{0D281B93-83CB-4AC6-9100-94EB12A20040}"/>
                </a:ext>
              </a:extLst>
            </p:cNvPr>
            <p:cNvSpPr>
              <a:spLocks noEditPoints="1"/>
            </p:cNvSpPr>
            <p:nvPr/>
          </p:nvSpPr>
          <p:spPr bwMode="auto">
            <a:xfrm>
              <a:off x="1849438" y="7789863"/>
              <a:ext cx="55563" cy="192088"/>
            </a:xfrm>
            <a:custGeom>
              <a:avLst/>
              <a:gdLst>
                <a:gd name="T0" fmla="*/ 34 w 54"/>
                <a:gd name="T1" fmla="*/ 137 h 187"/>
                <a:gd name="T2" fmla="*/ 34 w 54"/>
                <a:gd name="T3" fmla="*/ 51 h 187"/>
                <a:gd name="T4" fmla="*/ 44 w 54"/>
                <a:gd name="T5" fmla="*/ 45 h 187"/>
                <a:gd name="T6" fmla="*/ 44 w 54"/>
                <a:gd name="T7" fmla="*/ 10 h 187"/>
                <a:gd name="T8" fmla="*/ 10 w 54"/>
                <a:gd name="T9" fmla="*/ 10 h 187"/>
                <a:gd name="T10" fmla="*/ 10 w 54"/>
                <a:gd name="T11" fmla="*/ 45 h 187"/>
                <a:gd name="T12" fmla="*/ 20 w 54"/>
                <a:gd name="T13" fmla="*/ 51 h 187"/>
                <a:gd name="T14" fmla="*/ 20 w 54"/>
                <a:gd name="T15" fmla="*/ 137 h 187"/>
                <a:gd name="T16" fmla="*/ 1 w 54"/>
                <a:gd name="T17" fmla="*/ 161 h 187"/>
                <a:gd name="T18" fmla="*/ 27 w 54"/>
                <a:gd name="T19" fmla="*/ 187 h 187"/>
                <a:gd name="T20" fmla="*/ 53 w 54"/>
                <a:gd name="T21" fmla="*/ 161 h 187"/>
                <a:gd name="T22" fmla="*/ 34 w 54"/>
                <a:gd name="T23" fmla="*/ 137 h 187"/>
                <a:gd name="T24" fmla="*/ 20 w 54"/>
                <a:gd name="T25" fmla="*/ 20 h 187"/>
                <a:gd name="T26" fmla="*/ 27 w 54"/>
                <a:gd name="T27" fmla="*/ 17 h 187"/>
                <a:gd name="T28" fmla="*/ 34 w 54"/>
                <a:gd name="T29" fmla="*/ 20 h 187"/>
                <a:gd name="T30" fmla="*/ 34 w 54"/>
                <a:gd name="T31" fmla="*/ 35 h 187"/>
                <a:gd name="T32" fmla="*/ 20 w 54"/>
                <a:gd name="T33" fmla="*/ 35 h 187"/>
                <a:gd name="T34" fmla="*/ 20 w 54"/>
                <a:gd name="T35" fmla="*/ 20 h 187"/>
                <a:gd name="T36" fmla="*/ 27 w 54"/>
                <a:gd name="T37" fmla="*/ 173 h 187"/>
                <a:gd name="T38" fmla="*/ 15 w 54"/>
                <a:gd name="T39" fmla="*/ 161 h 187"/>
                <a:gd name="T40" fmla="*/ 27 w 54"/>
                <a:gd name="T41" fmla="*/ 150 h 187"/>
                <a:gd name="T42" fmla="*/ 39 w 54"/>
                <a:gd name="T43" fmla="*/ 161 h 187"/>
                <a:gd name="T44" fmla="*/ 27 w 54"/>
                <a:gd name="T45" fmla="*/ 17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187">
                  <a:moveTo>
                    <a:pt x="34" y="137"/>
                  </a:moveTo>
                  <a:cubicBezTo>
                    <a:pt x="34" y="51"/>
                    <a:pt x="34" y="51"/>
                    <a:pt x="34" y="51"/>
                  </a:cubicBezTo>
                  <a:cubicBezTo>
                    <a:pt x="38" y="50"/>
                    <a:pt x="41" y="48"/>
                    <a:pt x="44" y="45"/>
                  </a:cubicBezTo>
                  <a:cubicBezTo>
                    <a:pt x="54" y="35"/>
                    <a:pt x="54" y="20"/>
                    <a:pt x="44" y="10"/>
                  </a:cubicBezTo>
                  <a:cubicBezTo>
                    <a:pt x="35" y="0"/>
                    <a:pt x="19" y="0"/>
                    <a:pt x="10" y="10"/>
                  </a:cubicBezTo>
                  <a:cubicBezTo>
                    <a:pt x="0" y="20"/>
                    <a:pt x="0" y="35"/>
                    <a:pt x="10" y="45"/>
                  </a:cubicBezTo>
                  <a:cubicBezTo>
                    <a:pt x="13" y="48"/>
                    <a:pt x="16" y="50"/>
                    <a:pt x="20" y="51"/>
                  </a:cubicBezTo>
                  <a:cubicBezTo>
                    <a:pt x="20" y="137"/>
                    <a:pt x="20" y="137"/>
                    <a:pt x="20" y="137"/>
                  </a:cubicBezTo>
                  <a:cubicBezTo>
                    <a:pt x="9" y="140"/>
                    <a:pt x="1" y="150"/>
                    <a:pt x="1" y="161"/>
                  </a:cubicBezTo>
                  <a:cubicBezTo>
                    <a:pt x="1" y="175"/>
                    <a:pt x="13" y="187"/>
                    <a:pt x="27" y="187"/>
                  </a:cubicBezTo>
                  <a:cubicBezTo>
                    <a:pt x="41" y="187"/>
                    <a:pt x="53" y="175"/>
                    <a:pt x="53" y="161"/>
                  </a:cubicBezTo>
                  <a:cubicBezTo>
                    <a:pt x="53" y="150"/>
                    <a:pt x="45" y="140"/>
                    <a:pt x="34" y="137"/>
                  </a:cubicBezTo>
                  <a:close/>
                  <a:moveTo>
                    <a:pt x="20" y="20"/>
                  </a:moveTo>
                  <a:cubicBezTo>
                    <a:pt x="22" y="18"/>
                    <a:pt x="24" y="17"/>
                    <a:pt x="27" y="17"/>
                  </a:cubicBezTo>
                  <a:cubicBezTo>
                    <a:pt x="30" y="17"/>
                    <a:pt x="32" y="18"/>
                    <a:pt x="34" y="20"/>
                  </a:cubicBezTo>
                  <a:cubicBezTo>
                    <a:pt x="39" y="24"/>
                    <a:pt x="39" y="31"/>
                    <a:pt x="34" y="35"/>
                  </a:cubicBezTo>
                  <a:cubicBezTo>
                    <a:pt x="30" y="39"/>
                    <a:pt x="24" y="39"/>
                    <a:pt x="20" y="35"/>
                  </a:cubicBezTo>
                  <a:cubicBezTo>
                    <a:pt x="15" y="31"/>
                    <a:pt x="15" y="24"/>
                    <a:pt x="20" y="20"/>
                  </a:cubicBezTo>
                  <a:close/>
                  <a:moveTo>
                    <a:pt x="27" y="173"/>
                  </a:moveTo>
                  <a:cubicBezTo>
                    <a:pt x="21" y="173"/>
                    <a:pt x="15" y="168"/>
                    <a:pt x="15" y="161"/>
                  </a:cubicBezTo>
                  <a:cubicBezTo>
                    <a:pt x="15" y="155"/>
                    <a:pt x="21" y="150"/>
                    <a:pt x="27" y="150"/>
                  </a:cubicBezTo>
                  <a:cubicBezTo>
                    <a:pt x="33" y="150"/>
                    <a:pt x="39" y="155"/>
                    <a:pt x="39" y="161"/>
                  </a:cubicBezTo>
                  <a:cubicBezTo>
                    <a:pt x="39" y="168"/>
                    <a:pt x="33" y="173"/>
                    <a:pt x="27" y="173"/>
                  </a:cubicBezTo>
                  <a:close/>
                </a:path>
              </a:pathLst>
            </a:custGeom>
            <a:grpFill/>
            <a:ln w="9525">
              <a:no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2" name="Freeform 29">
              <a:extLst>
                <a:ext uri="{FF2B5EF4-FFF2-40B4-BE49-F238E27FC236}">
                  <a16:creationId xmlns:a16="http://schemas.microsoft.com/office/drawing/2014/main" id="{DAB523D7-3149-4EAE-A230-54B545B703D7}"/>
                </a:ext>
              </a:extLst>
            </p:cNvPr>
            <p:cNvSpPr>
              <a:spLocks noEditPoints="1"/>
            </p:cNvSpPr>
            <p:nvPr/>
          </p:nvSpPr>
          <p:spPr bwMode="auto">
            <a:xfrm>
              <a:off x="1911350" y="7669213"/>
              <a:ext cx="122238" cy="187325"/>
            </a:xfrm>
            <a:custGeom>
              <a:avLst/>
              <a:gdLst>
                <a:gd name="T0" fmla="*/ 102 w 120"/>
                <a:gd name="T1" fmla="*/ 111 h 182"/>
                <a:gd name="T2" fmla="*/ 120 w 120"/>
                <a:gd name="T3" fmla="*/ 88 h 182"/>
                <a:gd name="T4" fmla="*/ 95 w 120"/>
                <a:gd name="T5" fmla="*/ 64 h 182"/>
                <a:gd name="T6" fmla="*/ 81 w 120"/>
                <a:gd name="T7" fmla="*/ 69 h 182"/>
                <a:gd name="T8" fmla="*/ 49 w 120"/>
                <a:gd name="T9" fmla="*/ 37 h 182"/>
                <a:gd name="T10" fmla="*/ 51 w 120"/>
                <a:gd name="T11" fmla="*/ 26 h 182"/>
                <a:gd name="T12" fmla="*/ 26 w 120"/>
                <a:gd name="T13" fmla="*/ 0 h 182"/>
                <a:gd name="T14" fmla="*/ 0 w 120"/>
                <a:gd name="T15" fmla="*/ 26 h 182"/>
                <a:gd name="T16" fmla="*/ 26 w 120"/>
                <a:gd name="T17" fmla="*/ 52 h 182"/>
                <a:gd name="T18" fmla="*/ 40 w 120"/>
                <a:gd name="T19" fmla="*/ 47 h 182"/>
                <a:gd name="T20" fmla="*/ 73 w 120"/>
                <a:gd name="T21" fmla="*/ 80 h 182"/>
                <a:gd name="T22" fmla="*/ 71 w 120"/>
                <a:gd name="T23" fmla="*/ 88 h 182"/>
                <a:gd name="T24" fmla="*/ 88 w 120"/>
                <a:gd name="T25" fmla="*/ 111 h 182"/>
                <a:gd name="T26" fmla="*/ 88 w 120"/>
                <a:gd name="T27" fmla="*/ 134 h 182"/>
                <a:gd name="T28" fmla="*/ 88 w 120"/>
                <a:gd name="T29" fmla="*/ 135 h 182"/>
                <a:gd name="T30" fmla="*/ 71 w 120"/>
                <a:gd name="T31" fmla="*/ 158 h 182"/>
                <a:gd name="T32" fmla="*/ 95 w 120"/>
                <a:gd name="T33" fmla="*/ 182 h 182"/>
                <a:gd name="T34" fmla="*/ 120 w 120"/>
                <a:gd name="T35" fmla="*/ 158 h 182"/>
                <a:gd name="T36" fmla="*/ 102 w 120"/>
                <a:gd name="T37" fmla="*/ 135 h 182"/>
                <a:gd name="T38" fmla="*/ 102 w 120"/>
                <a:gd name="T39" fmla="*/ 134 h 182"/>
                <a:gd name="T40" fmla="*/ 102 w 120"/>
                <a:gd name="T41" fmla="*/ 111 h 182"/>
                <a:gd name="T42" fmla="*/ 14 w 120"/>
                <a:gd name="T43" fmla="*/ 26 h 182"/>
                <a:gd name="T44" fmla="*/ 26 w 120"/>
                <a:gd name="T45" fmla="*/ 14 h 182"/>
                <a:gd name="T46" fmla="*/ 37 w 120"/>
                <a:gd name="T47" fmla="*/ 26 h 182"/>
                <a:gd name="T48" fmla="*/ 26 w 120"/>
                <a:gd name="T49" fmla="*/ 38 h 182"/>
                <a:gd name="T50" fmla="*/ 14 w 120"/>
                <a:gd name="T51" fmla="*/ 26 h 182"/>
                <a:gd name="T52" fmla="*/ 85 w 120"/>
                <a:gd name="T53" fmla="*/ 88 h 182"/>
                <a:gd name="T54" fmla="*/ 95 w 120"/>
                <a:gd name="T55" fmla="*/ 78 h 182"/>
                <a:gd name="T56" fmla="*/ 106 w 120"/>
                <a:gd name="T57" fmla="*/ 88 h 182"/>
                <a:gd name="T58" fmla="*/ 95 w 120"/>
                <a:gd name="T59" fmla="*/ 98 h 182"/>
                <a:gd name="T60" fmla="*/ 85 w 120"/>
                <a:gd name="T61" fmla="*/ 88 h 182"/>
                <a:gd name="T62" fmla="*/ 106 w 120"/>
                <a:gd name="T63" fmla="*/ 158 h 182"/>
                <a:gd name="T64" fmla="*/ 95 w 120"/>
                <a:gd name="T65" fmla="*/ 168 h 182"/>
                <a:gd name="T66" fmla="*/ 85 w 120"/>
                <a:gd name="T67" fmla="*/ 158 h 182"/>
                <a:gd name="T68" fmla="*/ 95 w 120"/>
                <a:gd name="T69" fmla="*/ 148 h 182"/>
                <a:gd name="T70" fmla="*/ 106 w 120"/>
                <a:gd name="T71" fmla="*/ 15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2">
                  <a:moveTo>
                    <a:pt x="102" y="111"/>
                  </a:moveTo>
                  <a:cubicBezTo>
                    <a:pt x="112" y="108"/>
                    <a:pt x="120" y="99"/>
                    <a:pt x="120" y="88"/>
                  </a:cubicBezTo>
                  <a:cubicBezTo>
                    <a:pt x="120" y="75"/>
                    <a:pt x="109" y="64"/>
                    <a:pt x="95" y="64"/>
                  </a:cubicBezTo>
                  <a:cubicBezTo>
                    <a:pt x="90" y="64"/>
                    <a:pt x="85" y="66"/>
                    <a:pt x="81" y="69"/>
                  </a:cubicBezTo>
                  <a:cubicBezTo>
                    <a:pt x="49" y="37"/>
                    <a:pt x="49" y="37"/>
                    <a:pt x="49" y="37"/>
                  </a:cubicBezTo>
                  <a:cubicBezTo>
                    <a:pt x="50" y="33"/>
                    <a:pt x="51" y="30"/>
                    <a:pt x="51" y="26"/>
                  </a:cubicBezTo>
                  <a:cubicBezTo>
                    <a:pt x="51" y="12"/>
                    <a:pt x="40" y="0"/>
                    <a:pt x="26" y="0"/>
                  </a:cubicBezTo>
                  <a:cubicBezTo>
                    <a:pt x="11" y="0"/>
                    <a:pt x="0" y="12"/>
                    <a:pt x="0" y="26"/>
                  </a:cubicBezTo>
                  <a:cubicBezTo>
                    <a:pt x="0" y="40"/>
                    <a:pt x="11" y="52"/>
                    <a:pt x="26" y="52"/>
                  </a:cubicBezTo>
                  <a:cubicBezTo>
                    <a:pt x="31" y="52"/>
                    <a:pt x="36" y="50"/>
                    <a:pt x="40" y="47"/>
                  </a:cubicBezTo>
                  <a:cubicBezTo>
                    <a:pt x="73" y="80"/>
                    <a:pt x="73" y="80"/>
                    <a:pt x="73" y="80"/>
                  </a:cubicBezTo>
                  <a:cubicBezTo>
                    <a:pt x="72" y="83"/>
                    <a:pt x="71" y="85"/>
                    <a:pt x="71" y="88"/>
                  </a:cubicBezTo>
                  <a:cubicBezTo>
                    <a:pt x="71" y="99"/>
                    <a:pt x="79" y="108"/>
                    <a:pt x="88" y="111"/>
                  </a:cubicBezTo>
                  <a:cubicBezTo>
                    <a:pt x="88" y="134"/>
                    <a:pt x="88" y="134"/>
                    <a:pt x="88" y="134"/>
                  </a:cubicBezTo>
                  <a:cubicBezTo>
                    <a:pt x="88" y="134"/>
                    <a:pt x="88" y="134"/>
                    <a:pt x="88" y="135"/>
                  </a:cubicBezTo>
                  <a:cubicBezTo>
                    <a:pt x="79" y="138"/>
                    <a:pt x="71" y="147"/>
                    <a:pt x="71" y="158"/>
                  </a:cubicBezTo>
                  <a:cubicBezTo>
                    <a:pt x="71" y="171"/>
                    <a:pt x="82" y="182"/>
                    <a:pt x="95" y="182"/>
                  </a:cubicBezTo>
                  <a:cubicBezTo>
                    <a:pt x="109" y="182"/>
                    <a:pt x="120" y="171"/>
                    <a:pt x="120" y="158"/>
                  </a:cubicBezTo>
                  <a:cubicBezTo>
                    <a:pt x="120" y="147"/>
                    <a:pt x="112" y="138"/>
                    <a:pt x="102" y="135"/>
                  </a:cubicBezTo>
                  <a:cubicBezTo>
                    <a:pt x="102" y="134"/>
                    <a:pt x="102" y="134"/>
                    <a:pt x="102" y="134"/>
                  </a:cubicBezTo>
                  <a:lnTo>
                    <a:pt x="102" y="111"/>
                  </a:lnTo>
                  <a:close/>
                  <a:moveTo>
                    <a:pt x="14" y="26"/>
                  </a:moveTo>
                  <a:cubicBezTo>
                    <a:pt x="14" y="20"/>
                    <a:pt x="19" y="14"/>
                    <a:pt x="26" y="14"/>
                  </a:cubicBezTo>
                  <a:cubicBezTo>
                    <a:pt x="32" y="14"/>
                    <a:pt x="37" y="20"/>
                    <a:pt x="37" y="26"/>
                  </a:cubicBezTo>
                  <a:cubicBezTo>
                    <a:pt x="37" y="32"/>
                    <a:pt x="32" y="38"/>
                    <a:pt x="26" y="38"/>
                  </a:cubicBezTo>
                  <a:cubicBezTo>
                    <a:pt x="19" y="38"/>
                    <a:pt x="14" y="32"/>
                    <a:pt x="14" y="26"/>
                  </a:cubicBezTo>
                  <a:close/>
                  <a:moveTo>
                    <a:pt x="85" y="88"/>
                  </a:moveTo>
                  <a:cubicBezTo>
                    <a:pt x="85" y="83"/>
                    <a:pt x="90" y="78"/>
                    <a:pt x="95" y="78"/>
                  </a:cubicBezTo>
                  <a:cubicBezTo>
                    <a:pt x="101" y="78"/>
                    <a:pt x="106" y="83"/>
                    <a:pt x="106" y="88"/>
                  </a:cubicBezTo>
                  <a:cubicBezTo>
                    <a:pt x="106" y="94"/>
                    <a:pt x="101" y="98"/>
                    <a:pt x="95" y="98"/>
                  </a:cubicBezTo>
                  <a:cubicBezTo>
                    <a:pt x="90" y="98"/>
                    <a:pt x="85" y="94"/>
                    <a:pt x="85" y="88"/>
                  </a:cubicBezTo>
                  <a:close/>
                  <a:moveTo>
                    <a:pt x="106" y="158"/>
                  </a:moveTo>
                  <a:cubicBezTo>
                    <a:pt x="106" y="163"/>
                    <a:pt x="101" y="168"/>
                    <a:pt x="95" y="168"/>
                  </a:cubicBezTo>
                  <a:cubicBezTo>
                    <a:pt x="90" y="168"/>
                    <a:pt x="85" y="163"/>
                    <a:pt x="85" y="158"/>
                  </a:cubicBezTo>
                  <a:cubicBezTo>
                    <a:pt x="85" y="152"/>
                    <a:pt x="90" y="148"/>
                    <a:pt x="95" y="148"/>
                  </a:cubicBezTo>
                  <a:cubicBezTo>
                    <a:pt x="101" y="148"/>
                    <a:pt x="106" y="152"/>
                    <a:pt x="106" y="158"/>
                  </a:cubicBezTo>
                  <a:close/>
                </a:path>
              </a:pathLst>
            </a:custGeom>
            <a:grpFill/>
            <a:ln w="9525">
              <a:no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Freeform 30">
              <a:extLst>
                <a:ext uri="{FF2B5EF4-FFF2-40B4-BE49-F238E27FC236}">
                  <a16:creationId xmlns:a16="http://schemas.microsoft.com/office/drawing/2014/main" id="{92D3EF60-FCD7-4DFD-8BE9-8D87A6AA2BE1}"/>
                </a:ext>
              </a:extLst>
            </p:cNvPr>
            <p:cNvSpPr>
              <a:spLocks noEditPoints="1"/>
            </p:cNvSpPr>
            <p:nvPr/>
          </p:nvSpPr>
          <p:spPr bwMode="auto">
            <a:xfrm>
              <a:off x="1601788" y="7685088"/>
              <a:ext cx="171450" cy="52388"/>
            </a:xfrm>
            <a:custGeom>
              <a:avLst/>
              <a:gdLst>
                <a:gd name="T0" fmla="*/ 51 w 169"/>
                <a:gd name="T1" fmla="*/ 33 h 51"/>
                <a:gd name="T2" fmla="*/ 122 w 169"/>
                <a:gd name="T3" fmla="*/ 33 h 51"/>
                <a:gd name="T4" fmla="*/ 145 w 169"/>
                <a:gd name="T5" fmla="*/ 50 h 51"/>
                <a:gd name="T6" fmla="*/ 169 w 169"/>
                <a:gd name="T7" fmla="*/ 26 h 51"/>
                <a:gd name="T8" fmla="*/ 145 w 169"/>
                <a:gd name="T9" fmla="*/ 2 h 51"/>
                <a:gd name="T10" fmla="*/ 122 w 169"/>
                <a:gd name="T11" fmla="*/ 19 h 51"/>
                <a:gd name="T12" fmla="*/ 51 w 169"/>
                <a:gd name="T13" fmla="*/ 19 h 51"/>
                <a:gd name="T14" fmla="*/ 26 w 169"/>
                <a:gd name="T15" fmla="*/ 0 h 51"/>
                <a:gd name="T16" fmla="*/ 0 w 169"/>
                <a:gd name="T17" fmla="*/ 26 h 51"/>
                <a:gd name="T18" fmla="*/ 26 w 169"/>
                <a:gd name="T19" fmla="*/ 51 h 51"/>
                <a:gd name="T20" fmla="*/ 51 w 169"/>
                <a:gd name="T21" fmla="*/ 33 h 51"/>
                <a:gd name="T22" fmla="*/ 145 w 169"/>
                <a:gd name="T23" fmla="*/ 16 h 51"/>
                <a:gd name="T24" fmla="*/ 155 w 169"/>
                <a:gd name="T25" fmla="*/ 26 h 51"/>
                <a:gd name="T26" fmla="*/ 145 w 169"/>
                <a:gd name="T27" fmla="*/ 36 h 51"/>
                <a:gd name="T28" fmla="*/ 135 w 169"/>
                <a:gd name="T29" fmla="*/ 26 h 51"/>
                <a:gd name="T30" fmla="*/ 145 w 169"/>
                <a:gd name="T31" fmla="*/ 16 h 51"/>
                <a:gd name="T32" fmla="*/ 26 w 169"/>
                <a:gd name="T33" fmla="*/ 37 h 51"/>
                <a:gd name="T34" fmla="*/ 14 w 169"/>
                <a:gd name="T35" fmla="*/ 26 h 51"/>
                <a:gd name="T36" fmla="*/ 26 w 169"/>
                <a:gd name="T37" fmla="*/ 14 h 51"/>
                <a:gd name="T38" fmla="*/ 38 w 169"/>
                <a:gd name="T39" fmla="*/ 26 h 51"/>
                <a:gd name="T40" fmla="*/ 26 w 169"/>
                <a:gd name="T41"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51">
                  <a:moveTo>
                    <a:pt x="51" y="33"/>
                  </a:moveTo>
                  <a:cubicBezTo>
                    <a:pt x="122" y="33"/>
                    <a:pt x="122" y="33"/>
                    <a:pt x="122" y="33"/>
                  </a:cubicBezTo>
                  <a:cubicBezTo>
                    <a:pt x="125" y="43"/>
                    <a:pt x="134" y="50"/>
                    <a:pt x="145" y="50"/>
                  </a:cubicBezTo>
                  <a:cubicBezTo>
                    <a:pt x="158" y="50"/>
                    <a:pt x="169" y="39"/>
                    <a:pt x="169" y="26"/>
                  </a:cubicBezTo>
                  <a:cubicBezTo>
                    <a:pt x="169" y="12"/>
                    <a:pt x="158" y="2"/>
                    <a:pt x="145" y="2"/>
                  </a:cubicBezTo>
                  <a:cubicBezTo>
                    <a:pt x="134" y="2"/>
                    <a:pt x="125" y="9"/>
                    <a:pt x="122" y="19"/>
                  </a:cubicBezTo>
                  <a:cubicBezTo>
                    <a:pt x="51" y="19"/>
                    <a:pt x="51" y="19"/>
                    <a:pt x="51" y="19"/>
                  </a:cubicBezTo>
                  <a:cubicBezTo>
                    <a:pt x="47" y="8"/>
                    <a:pt x="38" y="0"/>
                    <a:pt x="26" y="0"/>
                  </a:cubicBezTo>
                  <a:cubicBezTo>
                    <a:pt x="12" y="0"/>
                    <a:pt x="0" y="11"/>
                    <a:pt x="0" y="26"/>
                  </a:cubicBezTo>
                  <a:cubicBezTo>
                    <a:pt x="0" y="40"/>
                    <a:pt x="12" y="51"/>
                    <a:pt x="26" y="51"/>
                  </a:cubicBezTo>
                  <a:cubicBezTo>
                    <a:pt x="38" y="51"/>
                    <a:pt x="47" y="43"/>
                    <a:pt x="51" y="33"/>
                  </a:cubicBezTo>
                  <a:close/>
                  <a:moveTo>
                    <a:pt x="145" y="16"/>
                  </a:moveTo>
                  <a:cubicBezTo>
                    <a:pt x="150" y="16"/>
                    <a:pt x="155" y="20"/>
                    <a:pt x="155" y="26"/>
                  </a:cubicBezTo>
                  <a:cubicBezTo>
                    <a:pt x="155" y="31"/>
                    <a:pt x="150" y="36"/>
                    <a:pt x="145" y="36"/>
                  </a:cubicBezTo>
                  <a:cubicBezTo>
                    <a:pt x="139" y="36"/>
                    <a:pt x="135" y="31"/>
                    <a:pt x="135" y="26"/>
                  </a:cubicBezTo>
                  <a:cubicBezTo>
                    <a:pt x="135" y="20"/>
                    <a:pt x="139" y="16"/>
                    <a:pt x="145" y="16"/>
                  </a:cubicBezTo>
                  <a:close/>
                  <a:moveTo>
                    <a:pt x="26" y="37"/>
                  </a:moveTo>
                  <a:cubicBezTo>
                    <a:pt x="19" y="37"/>
                    <a:pt x="14" y="32"/>
                    <a:pt x="14" y="26"/>
                  </a:cubicBezTo>
                  <a:cubicBezTo>
                    <a:pt x="14" y="19"/>
                    <a:pt x="19" y="14"/>
                    <a:pt x="26" y="14"/>
                  </a:cubicBezTo>
                  <a:cubicBezTo>
                    <a:pt x="32" y="14"/>
                    <a:pt x="38" y="19"/>
                    <a:pt x="38" y="26"/>
                  </a:cubicBezTo>
                  <a:cubicBezTo>
                    <a:pt x="38" y="32"/>
                    <a:pt x="32" y="37"/>
                    <a:pt x="26" y="37"/>
                  </a:cubicBezTo>
                  <a:close/>
                </a:path>
              </a:pathLst>
            </a:custGeom>
            <a:grpFill/>
            <a:ln w="9525">
              <a:no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Freeform 31">
              <a:extLst>
                <a:ext uri="{FF2B5EF4-FFF2-40B4-BE49-F238E27FC236}">
                  <a16:creationId xmlns:a16="http://schemas.microsoft.com/office/drawing/2014/main" id="{C0574C36-3325-44A7-8066-B650C50168DA}"/>
                </a:ext>
              </a:extLst>
            </p:cNvPr>
            <p:cNvSpPr>
              <a:spLocks noEditPoints="1"/>
            </p:cNvSpPr>
            <p:nvPr/>
          </p:nvSpPr>
          <p:spPr bwMode="auto">
            <a:xfrm>
              <a:off x="1617663" y="7575551"/>
              <a:ext cx="149225" cy="82550"/>
            </a:xfrm>
            <a:custGeom>
              <a:avLst/>
              <a:gdLst>
                <a:gd name="T0" fmla="*/ 27 w 147"/>
                <a:gd name="T1" fmla="*/ 80 h 80"/>
                <a:gd name="T2" fmla="*/ 44 w 147"/>
                <a:gd name="T3" fmla="*/ 73 h 80"/>
                <a:gd name="T4" fmla="*/ 48 w 147"/>
                <a:gd name="T5" fmla="*/ 45 h 80"/>
                <a:gd name="T6" fmla="*/ 76 w 147"/>
                <a:gd name="T7" fmla="*/ 14 h 80"/>
                <a:gd name="T8" fmla="*/ 86 w 147"/>
                <a:gd name="T9" fmla="*/ 14 h 80"/>
                <a:gd name="T10" fmla="*/ 98 w 147"/>
                <a:gd name="T11" fmla="*/ 27 h 80"/>
                <a:gd name="T12" fmla="*/ 103 w 147"/>
                <a:gd name="T13" fmla="*/ 54 h 80"/>
                <a:gd name="T14" fmla="*/ 120 w 147"/>
                <a:gd name="T15" fmla="*/ 61 h 80"/>
                <a:gd name="T16" fmla="*/ 137 w 147"/>
                <a:gd name="T17" fmla="*/ 54 h 80"/>
                <a:gd name="T18" fmla="*/ 137 w 147"/>
                <a:gd name="T19" fmla="*/ 20 h 80"/>
                <a:gd name="T20" fmla="*/ 137 w 147"/>
                <a:gd name="T21" fmla="*/ 20 h 80"/>
                <a:gd name="T22" fmla="*/ 108 w 147"/>
                <a:gd name="T23" fmla="*/ 16 h 80"/>
                <a:gd name="T24" fmla="*/ 92 w 147"/>
                <a:gd name="T25" fmla="*/ 0 h 80"/>
                <a:gd name="T26" fmla="*/ 69 w 147"/>
                <a:gd name="T27" fmla="*/ 0 h 80"/>
                <a:gd name="T28" fmla="*/ 38 w 147"/>
                <a:gd name="T29" fmla="*/ 35 h 80"/>
                <a:gd name="T30" fmla="*/ 10 w 147"/>
                <a:gd name="T31" fmla="*/ 39 h 80"/>
                <a:gd name="T32" fmla="*/ 10 w 147"/>
                <a:gd name="T33" fmla="*/ 73 h 80"/>
                <a:gd name="T34" fmla="*/ 27 w 147"/>
                <a:gd name="T35" fmla="*/ 80 h 80"/>
                <a:gd name="T36" fmla="*/ 127 w 147"/>
                <a:gd name="T37" fmla="*/ 30 h 80"/>
                <a:gd name="T38" fmla="*/ 127 w 147"/>
                <a:gd name="T39" fmla="*/ 44 h 80"/>
                <a:gd name="T40" fmla="*/ 113 w 147"/>
                <a:gd name="T41" fmla="*/ 44 h 80"/>
                <a:gd name="T42" fmla="*/ 111 w 147"/>
                <a:gd name="T43" fmla="*/ 32 h 80"/>
                <a:gd name="T44" fmla="*/ 113 w 147"/>
                <a:gd name="T45" fmla="*/ 31 h 80"/>
                <a:gd name="T46" fmla="*/ 114 w 147"/>
                <a:gd name="T47" fmla="*/ 28 h 80"/>
                <a:gd name="T48" fmla="*/ 120 w 147"/>
                <a:gd name="T49" fmla="*/ 27 h 80"/>
                <a:gd name="T50" fmla="*/ 127 w 147"/>
                <a:gd name="T51" fmla="*/ 30 h 80"/>
                <a:gd name="T52" fmla="*/ 20 w 147"/>
                <a:gd name="T53" fmla="*/ 49 h 80"/>
                <a:gd name="T54" fmla="*/ 27 w 147"/>
                <a:gd name="T55" fmla="*/ 46 h 80"/>
                <a:gd name="T56" fmla="*/ 34 w 147"/>
                <a:gd name="T57" fmla="*/ 49 h 80"/>
                <a:gd name="T58" fmla="*/ 34 w 147"/>
                <a:gd name="T59" fmla="*/ 63 h 80"/>
                <a:gd name="T60" fmla="*/ 20 w 147"/>
                <a:gd name="T61" fmla="*/ 63 h 80"/>
                <a:gd name="T62" fmla="*/ 20 w 147"/>
                <a:gd name="T63"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7" h="80">
                  <a:moveTo>
                    <a:pt x="27" y="80"/>
                  </a:moveTo>
                  <a:cubicBezTo>
                    <a:pt x="33" y="80"/>
                    <a:pt x="39" y="78"/>
                    <a:pt x="44" y="73"/>
                  </a:cubicBezTo>
                  <a:cubicBezTo>
                    <a:pt x="51" y="65"/>
                    <a:pt x="53" y="54"/>
                    <a:pt x="48" y="45"/>
                  </a:cubicBezTo>
                  <a:cubicBezTo>
                    <a:pt x="76" y="14"/>
                    <a:pt x="76" y="14"/>
                    <a:pt x="76" y="14"/>
                  </a:cubicBezTo>
                  <a:cubicBezTo>
                    <a:pt x="86" y="14"/>
                    <a:pt x="86" y="14"/>
                    <a:pt x="86" y="14"/>
                  </a:cubicBezTo>
                  <a:cubicBezTo>
                    <a:pt x="98" y="27"/>
                    <a:pt x="98" y="27"/>
                    <a:pt x="98" y="27"/>
                  </a:cubicBezTo>
                  <a:cubicBezTo>
                    <a:pt x="94" y="35"/>
                    <a:pt x="96" y="46"/>
                    <a:pt x="103" y="54"/>
                  </a:cubicBezTo>
                  <a:cubicBezTo>
                    <a:pt x="108" y="58"/>
                    <a:pt x="114" y="61"/>
                    <a:pt x="120" y="61"/>
                  </a:cubicBezTo>
                  <a:cubicBezTo>
                    <a:pt x="126" y="61"/>
                    <a:pt x="132" y="58"/>
                    <a:pt x="137" y="54"/>
                  </a:cubicBezTo>
                  <a:cubicBezTo>
                    <a:pt x="147" y="44"/>
                    <a:pt x="147" y="29"/>
                    <a:pt x="137" y="20"/>
                  </a:cubicBezTo>
                  <a:cubicBezTo>
                    <a:pt x="137" y="20"/>
                    <a:pt x="137" y="20"/>
                    <a:pt x="137" y="20"/>
                  </a:cubicBezTo>
                  <a:cubicBezTo>
                    <a:pt x="129" y="12"/>
                    <a:pt x="117" y="11"/>
                    <a:pt x="108" y="16"/>
                  </a:cubicBezTo>
                  <a:cubicBezTo>
                    <a:pt x="92" y="0"/>
                    <a:pt x="92" y="0"/>
                    <a:pt x="92" y="0"/>
                  </a:cubicBezTo>
                  <a:cubicBezTo>
                    <a:pt x="69" y="0"/>
                    <a:pt x="69" y="0"/>
                    <a:pt x="69" y="0"/>
                  </a:cubicBezTo>
                  <a:cubicBezTo>
                    <a:pt x="38" y="35"/>
                    <a:pt x="38" y="35"/>
                    <a:pt x="38" y="35"/>
                  </a:cubicBezTo>
                  <a:cubicBezTo>
                    <a:pt x="29" y="30"/>
                    <a:pt x="17" y="31"/>
                    <a:pt x="10" y="39"/>
                  </a:cubicBezTo>
                  <a:cubicBezTo>
                    <a:pt x="0" y="48"/>
                    <a:pt x="0" y="64"/>
                    <a:pt x="10" y="73"/>
                  </a:cubicBezTo>
                  <a:cubicBezTo>
                    <a:pt x="14" y="78"/>
                    <a:pt x="21" y="80"/>
                    <a:pt x="27" y="80"/>
                  </a:cubicBezTo>
                  <a:close/>
                  <a:moveTo>
                    <a:pt x="127" y="30"/>
                  </a:moveTo>
                  <a:cubicBezTo>
                    <a:pt x="131" y="33"/>
                    <a:pt x="131" y="40"/>
                    <a:pt x="127" y="44"/>
                  </a:cubicBezTo>
                  <a:cubicBezTo>
                    <a:pt x="123" y="48"/>
                    <a:pt x="117" y="48"/>
                    <a:pt x="113" y="44"/>
                  </a:cubicBezTo>
                  <a:cubicBezTo>
                    <a:pt x="110" y="41"/>
                    <a:pt x="109" y="36"/>
                    <a:pt x="111" y="32"/>
                  </a:cubicBezTo>
                  <a:cubicBezTo>
                    <a:pt x="112" y="32"/>
                    <a:pt x="112" y="31"/>
                    <a:pt x="113" y="31"/>
                  </a:cubicBezTo>
                  <a:cubicBezTo>
                    <a:pt x="113" y="30"/>
                    <a:pt x="114" y="29"/>
                    <a:pt x="114" y="28"/>
                  </a:cubicBezTo>
                  <a:cubicBezTo>
                    <a:pt x="116" y="27"/>
                    <a:pt x="118" y="27"/>
                    <a:pt x="120" y="27"/>
                  </a:cubicBezTo>
                  <a:cubicBezTo>
                    <a:pt x="123" y="27"/>
                    <a:pt x="125" y="28"/>
                    <a:pt x="127" y="30"/>
                  </a:cubicBezTo>
                  <a:close/>
                  <a:moveTo>
                    <a:pt x="20" y="49"/>
                  </a:moveTo>
                  <a:cubicBezTo>
                    <a:pt x="22" y="47"/>
                    <a:pt x="24" y="46"/>
                    <a:pt x="27" y="46"/>
                  </a:cubicBezTo>
                  <a:cubicBezTo>
                    <a:pt x="29" y="46"/>
                    <a:pt x="32" y="47"/>
                    <a:pt x="34" y="49"/>
                  </a:cubicBezTo>
                  <a:cubicBezTo>
                    <a:pt x="38" y="53"/>
                    <a:pt x="38" y="59"/>
                    <a:pt x="34" y="63"/>
                  </a:cubicBezTo>
                  <a:cubicBezTo>
                    <a:pt x="30" y="67"/>
                    <a:pt x="23" y="67"/>
                    <a:pt x="20" y="63"/>
                  </a:cubicBezTo>
                  <a:cubicBezTo>
                    <a:pt x="16" y="59"/>
                    <a:pt x="16" y="53"/>
                    <a:pt x="20" y="49"/>
                  </a:cubicBezTo>
                  <a:close/>
                </a:path>
              </a:pathLst>
            </a:custGeom>
            <a:grpFill/>
            <a:ln w="9525">
              <a:no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Freeform 32">
              <a:extLst>
                <a:ext uri="{FF2B5EF4-FFF2-40B4-BE49-F238E27FC236}">
                  <a16:creationId xmlns:a16="http://schemas.microsoft.com/office/drawing/2014/main" id="{9CCB6EBC-1BC0-40B4-98EE-0F0051B9E3EB}"/>
                </a:ext>
              </a:extLst>
            </p:cNvPr>
            <p:cNvSpPr>
              <a:spLocks noEditPoints="1"/>
            </p:cNvSpPr>
            <p:nvPr/>
          </p:nvSpPr>
          <p:spPr bwMode="auto">
            <a:xfrm>
              <a:off x="1908175" y="7586669"/>
              <a:ext cx="125413" cy="120650"/>
            </a:xfrm>
            <a:custGeom>
              <a:avLst/>
              <a:gdLst>
                <a:gd name="T0" fmla="*/ 25 w 123"/>
                <a:gd name="T1" fmla="*/ 49 h 118"/>
                <a:gd name="T2" fmla="*/ 48 w 123"/>
                <a:gd name="T3" fmla="*/ 32 h 118"/>
                <a:gd name="T4" fmla="*/ 79 w 123"/>
                <a:gd name="T5" fmla="*/ 32 h 118"/>
                <a:gd name="T6" fmla="*/ 93 w 123"/>
                <a:gd name="T7" fmla="*/ 46 h 118"/>
                <a:gd name="T8" fmla="*/ 93 w 123"/>
                <a:gd name="T9" fmla="*/ 69 h 118"/>
                <a:gd name="T10" fmla="*/ 74 w 123"/>
                <a:gd name="T11" fmla="*/ 93 h 118"/>
                <a:gd name="T12" fmla="*/ 98 w 123"/>
                <a:gd name="T13" fmla="*/ 118 h 118"/>
                <a:gd name="T14" fmla="*/ 123 w 123"/>
                <a:gd name="T15" fmla="*/ 93 h 118"/>
                <a:gd name="T16" fmla="*/ 107 w 123"/>
                <a:gd name="T17" fmla="*/ 70 h 118"/>
                <a:gd name="T18" fmla="*/ 107 w 123"/>
                <a:gd name="T19" fmla="*/ 40 h 118"/>
                <a:gd name="T20" fmla="*/ 85 w 123"/>
                <a:gd name="T21" fmla="*/ 18 h 118"/>
                <a:gd name="T22" fmla="*/ 48 w 123"/>
                <a:gd name="T23" fmla="*/ 18 h 118"/>
                <a:gd name="T24" fmla="*/ 25 w 123"/>
                <a:gd name="T25" fmla="*/ 0 h 118"/>
                <a:gd name="T26" fmla="*/ 0 w 123"/>
                <a:gd name="T27" fmla="*/ 25 h 118"/>
                <a:gd name="T28" fmla="*/ 25 w 123"/>
                <a:gd name="T29" fmla="*/ 49 h 118"/>
                <a:gd name="T30" fmla="*/ 98 w 123"/>
                <a:gd name="T31" fmla="*/ 104 h 118"/>
                <a:gd name="T32" fmla="*/ 88 w 123"/>
                <a:gd name="T33" fmla="*/ 93 h 118"/>
                <a:gd name="T34" fmla="*/ 98 w 123"/>
                <a:gd name="T35" fmla="*/ 83 h 118"/>
                <a:gd name="T36" fmla="*/ 109 w 123"/>
                <a:gd name="T37" fmla="*/ 93 h 118"/>
                <a:gd name="T38" fmla="*/ 98 w 123"/>
                <a:gd name="T39" fmla="*/ 104 h 118"/>
                <a:gd name="T40" fmla="*/ 25 w 123"/>
                <a:gd name="T41" fmla="*/ 14 h 118"/>
                <a:gd name="T42" fmla="*/ 35 w 123"/>
                <a:gd name="T43" fmla="*/ 25 h 118"/>
                <a:gd name="T44" fmla="*/ 25 w 123"/>
                <a:gd name="T45" fmla="*/ 35 h 118"/>
                <a:gd name="T46" fmla="*/ 14 w 123"/>
                <a:gd name="T47" fmla="*/ 25 h 118"/>
                <a:gd name="T48" fmla="*/ 25 w 123"/>
                <a:gd name="T49" fmla="*/ 1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 h="118">
                  <a:moveTo>
                    <a:pt x="25" y="49"/>
                  </a:moveTo>
                  <a:cubicBezTo>
                    <a:pt x="36" y="49"/>
                    <a:pt x="45" y="42"/>
                    <a:pt x="48" y="32"/>
                  </a:cubicBezTo>
                  <a:cubicBezTo>
                    <a:pt x="79" y="32"/>
                    <a:pt x="79" y="32"/>
                    <a:pt x="79" y="32"/>
                  </a:cubicBezTo>
                  <a:cubicBezTo>
                    <a:pt x="93" y="46"/>
                    <a:pt x="93" y="46"/>
                    <a:pt x="93" y="46"/>
                  </a:cubicBezTo>
                  <a:cubicBezTo>
                    <a:pt x="93" y="69"/>
                    <a:pt x="93" y="69"/>
                    <a:pt x="93" y="69"/>
                  </a:cubicBezTo>
                  <a:cubicBezTo>
                    <a:pt x="82" y="72"/>
                    <a:pt x="74" y="82"/>
                    <a:pt x="74" y="93"/>
                  </a:cubicBezTo>
                  <a:cubicBezTo>
                    <a:pt x="74" y="107"/>
                    <a:pt x="85" y="118"/>
                    <a:pt x="98" y="118"/>
                  </a:cubicBezTo>
                  <a:cubicBezTo>
                    <a:pt x="112" y="118"/>
                    <a:pt x="123" y="107"/>
                    <a:pt x="123" y="93"/>
                  </a:cubicBezTo>
                  <a:cubicBezTo>
                    <a:pt x="123" y="83"/>
                    <a:pt x="116" y="74"/>
                    <a:pt x="107" y="70"/>
                  </a:cubicBezTo>
                  <a:cubicBezTo>
                    <a:pt x="107" y="40"/>
                    <a:pt x="107" y="40"/>
                    <a:pt x="107" y="40"/>
                  </a:cubicBezTo>
                  <a:cubicBezTo>
                    <a:pt x="85" y="18"/>
                    <a:pt x="85" y="18"/>
                    <a:pt x="85" y="18"/>
                  </a:cubicBezTo>
                  <a:cubicBezTo>
                    <a:pt x="48" y="18"/>
                    <a:pt x="48" y="18"/>
                    <a:pt x="48" y="18"/>
                  </a:cubicBezTo>
                  <a:cubicBezTo>
                    <a:pt x="45" y="7"/>
                    <a:pt x="36" y="0"/>
                    <a:pt x="25" y="0"/>
                  </a:cubicBezTo>
                  <a:cubicBezTo>
                    <a:pt x="11" y="0"/>
                    <a:pt x="0" y="11"/>
                    <a:pt x="0" y="25"/>
                  </a:cubicBezTo>
                  <a:cubicBezTo>
                    <a:pt x="0" y="38"/>
                    <a:pt x="11" y="49"/>
                    <a:pt x="25" y="49"/>
                  </a:cubicBezTo>
                  <a:close/>
                  <a:moveTo>
                    <a:pt x="98" y="104"/>
                  </a:moveTo>
                  <a:cubicBezTo>
                    <a:pt x="93" y="104"/>
                    <a:pt x="88" y="99"/>
                    <a:pt x="88" y="93"/>
                  </a:cubicBezTo>
                  <a:cubicBezTo>
                    <a:pt x="88" y="87"/>
                    <a:pt x="93" y="83"/>
                    <a:pt x="98" y="83"/>
                  </a:cubicBezTo>
                  <a:cubicBezTo>
                    <a:pt x="104" y="83"/>
                    <a:pt x="109" y="87"/>
                    <a:pt x="109" y="93"/>
                  </a:cubicBezTo>
                  <a:cubicBezTo>
                    <a:pt x="109" y="99"/>
                    <a:pt x="104" y="104"/>
                    <a:pt x="98" y="104"/>
                  </a:cubicBezTo>
                  <a:close/>
                  <a:moveTo>
                    <a:pt x="25" y="14"/>
                  </a:moveTo>
                  <a:cubicBezTo>
                    <a:pt x="30" y="14"/>
                    <a:pt x="35" y="19"/>
                    <a:pt x="35" y="25"/>
                  </a:cubicBezTo>
                  <a:cubicBezTo>
                    <a:pt x="35" y="30"/>
                    <a:pt x="30" y="35"/>
                    <a:pt x="25" y="35"/>
                  </a:cubicBezTo>
                  <a:cubicBezTo>
                    <a:pt x="19" y="35"/>
                    <a:pt x="14" y="30"/>
                    <a:pt x="14" y="25"/>
                  </a:cubicBezTo>
                  <a:cubicBezTo>
                    <a:pt x="14" y="19"/>
                    <a:pt x="19" y="14"/>
                    <a:pt x="25" y="14"/>
                  </a:cubicBezTo>
                  <a:close/>
                </a:path>
              </a:pathLst>
            </a:custGeom>
            <a:grpFill/>
            <a:ln w="9525">
              <a:no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Freeform 33">
              <a:extLst>
                <a:ext uri="{FF2B5EF4-FFF2-40B4-BE49-F238E27FC236}">
                  <a16:creationId xmlns:a16="http://schemas.microsoft.com/office/drawing/2014/main" id="{E30C0B0A-EDCD-4F3D-AD13-C8BBE6A4C3B1}"/>
                </a:ext>
              </a:extLst>
            </p:cNvPr>
            <p:cNvSpPr>
              <a:spLocks noEditPoints="1"/>
            </p:cNvSpPr>
            <p:nvPr/>
          </p:nvSpPr>
          <p:spPr bwMode="auto">
            <a:xfrm>
              <a:off x="1755775" y="7545388"/>
              <a:ext cx="149225" cy="228600"/>
            </a:xfrm>
            <a:custGeom>
              <a:avLst/>
              <a:gdLst>
                <a:gd name="T0" fmla="*/ 129 w 146"/>
                <a:gd name="T1" fmla="*/ 175 h 223"/>
                <a:gd name="T2" fmla="*/ 129 w 146"/>
                <a:gd name="T3" fmla="*/ 48 h 223"/>
                <a:gd name="T4" fmla="*/ 146 w 146"/>
                <a:gd name="T5" fmla="*/ 25 h 223"/>
                <a:gd name="T6" fmla="*/ 122 w 146"/>
                <a:gd name="T7" fmla="*/ 1 h 223"/>
                <a:gd name="T8" fmla="*/ 98 w 146"/>
                <a:gd name="T9" fmla="*/ 21 h 223"/>
                <a:gd name="T10" fmla="*/ 51 w 146"/>
                <a:gd name="T11" fmla="*/ 21 h 223"/>
                <a:gd name="T12" fmla="*/ 41 w 146"/>
                <a:gd name="T13" fmla="*/ 6 h 223"/>
                <a:gd name="T14" fmla="*/ 23 w 146"/>
                <a:gd name="T15" fmla="*/ 1 h 223"/>
                <a:gd name="T16" fmla="*/ 2 w 146"/>
                <a:gd name="T17" fmla="*/ 29 h 223"/>
                <a:gd name="T18" fmla="*/ 12 w 146"/>
                <a:gd name="T19" fmla="*/ 45 h 223"/>
                <a:gd name="T20" fmla="*/ 27 w 146"/>
                <a:gd name="T21" fmla="*/ 50 h 223"/>
                <a:gd name="T22" fmla="*/ 30 w 146"/>
                <a:gd name="T23" fmla="*/ 50 h 223"/>
                <a:gd name="T24" fmla="*/ 49 w 146"/>
                <a:gd name="T25" fmla="*/ 35 h 223"/>
                <a:gd name="T26" fmla="*/ 100 w 146"/>
                <a:gd name="T27" fmla="*/ 35 h 223"/>
                <a:gd name="T28" fmla="*/ 115 w 146"/>
                <a:gd name="T29" fmla="*/ 48 h 223"/>
                <a:gd name="T30" fmla="*/ 115 w 146"/>
                <a:gd name="T31" fmla="*/ 175 h 223"/>
                <a:gd name="T32" fmla="*/ 97 w 146"/>
                <a:gd name="T33" fmla="*/ 198 h 223"/>
                <a:gd name="T34" fmla="*/ 122 w 146"/>
                <a:gd name="T35" fmla="*/ 223 h 223"/>
                <a:gd name="T36" fmla="*/ 146 w 146"/>
                <a:gd name="T37" fmla="*/ 198 h 223"/>
                <a:gd name="T38" fmla="*/ 129 w 146"/>
                <a:gd name="T39" fmla="*/ 175 h 223"/>
                <a:gd name="T40" fmla="*/ 28 w 146"/>
                <a:gd name="T41" fmla="*/ 36 h 223"/>
                <a:gd name="T42" fmla="*/ 16 w 146"/>
                <a:gd name="T43" fmla="*/ 27 h 223"/>
                <a:gd name="T44" fmla="*/ 25 w 146"/>
                <a:gd name="T45" fmla="*/ 15 h 223"/>
                <a:gd name="T46" fmla="*/ 33 w 146"/>
                <a:gd name="T47" fmla="*/ 17 h 223"/>
                <a:gd name="T48" fmla="*/ 37 w 146"/>
                <a:gd name="T49" fmla="*/ 24 h 223"/>
                <a:gd name="T50" fmla="*/ 28 w 146"/>
                <a:gd name="T51" fmla="*/ 36 h 223"/>
                <a:gd name="T52" fmla="*/ 112 w 146"/>
                <a:gd name="T53" fmla="*/ 25 h 223"/>
                <a:gd name="T54" fmla="*/ 122 w 146"/>
                <a:gd name="T55" fmla="*/ 15 h 223"/>
                <a:gd name="T56" fmla="*/ 132 w 146"/>
                <a:gd name="T57" fmla="*/ 25 h 223"/>
                <a:gd name="T58" fmla="*/ 122 w 146"/>
                <a:gd name="T59" fmla="*/ 35 h 223"/>
                <a:gd name="T60" fmla="*/ 122 w 146"/>
                <a:gd name="T61" fmla="*/ 35 h 223"/>
                <a:gd name="T62" fmla="*/ 122 w 146"/>
                <a:gd name="T63" fmla="*/ 35 h 223"/>
                <a:gd name="T64" fmla="*/ 112 w 146"/>
                <a:gd name="T65" fmla="*/ 25 h 223"/>
                <a:gd name="T66" fmla="*/ 122 w 146"/>
                <a:gd name="T67" fmla="*/ 209 h 223"/>
                <a:gd name="T68" fmla="*/ 111 w 146"/>
                <a:gd name="T69" fmla="*/ 198 h 223"/>
                <a:gd name="T70" fmla="*/ 122 w 146"/>
                <a:gd name="T71" fmla="*/ 188 h 223"/>
                <a:gd name="T72" fmla="*/ 132 w 146"/>
                <a:gd name="T73" fmla="*/ 198 h 223"/>
                <a:gd name="T74" fmla="*/ 122 w 146"/>
                <a:gd name="T75" fmla="*/ 20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 h="223">
                  <a:moveTo>
                    <a:pt x="129" y="175"/>
                  </a:moveTo>
                  <a:cubicBezTo>
                    <a:pt x="129" y="48"/>
                    <a:pt x="129" y="48"/>
                    <a:pt x="129" y="48"/>
                  </a:cubicBezTo>
                  <a:cubicBezTo>
                    <a:pt x="139" y="45"/>
                    <a:pt x="146" y="36"/>
                    <a:pt x="146" y="25"/>
                  </a:cubicBezTo>
                  <a:cubicBezTo>
                    <a:pt x="146" y="12"/>
                    <a:pt x="135" y="1"/>
                    <a:pt x="122" y="1"/>
                  </a:cubicBezTo>
                  <a:cubicBezTo>
                    <a:pt x="110" y="1"/>
                    <a:pt x="100" y="10"/>
                    <a:pt x="98" y="21"/>
                  </a:cubicBezTo>
                  <a:cubicBezTo>
                    <a:pt x="51" y="21"/>
                    <a:pt x="51" y="21"/>
                    <a:pt x="51" y="21"/>
                  </a:cubicBezTo>
                  <a:cubicBezTo>
                    <a:pt x="50" y="15"/>
                    <a:pt x="46" y="9"/>
                    <a:pt x="41" y="6"/>
                  </a:cubicBezTo>
                  <a:cubicBezTo>
                    <a:pt x="36" y="2"/>
                    <a:pt x="30" y="0"/>
                    <a:pt x="23" y="1"/>
                  </a:cubicBezTo>
                  <a:cubicBezTo>
                    <a:pt x="10" y="3"/>
                    <a:pt x="0" y="15"/>
                    <a:pt x="2" y="29"/>
                  </a:cubicBezTo>
                  <a:cubicBezTo>
                    <a:pt x="3" y="35"/>
                    <a:pt x="7" y="41"/>
                    <a:pt x="12" y="45"/>
                  </a:cubicBezTo>
                  <a:cubicBezTo>
                    <a:pt x="16" y="48"/>
                    <a:pt x="21" y="50"/>
                    <a:pt x="27" y="50"/>
                  </a:cubicBezTo>
                  <a:cubicBezTo>
                    <a:pt x="28" y="50"/>
                    <a:pt x="29" y="50"/>
                    <a:pt x="30" y="50"/>
                  </a:cubicBezTo>
                  <a:cubicBezTo>
                    <a:pt x="39" y="48"/>
                    <a:pt x="46" y="42"/>
                    <a:pt x="49" y="35"/>
                  </a:cubicBezTo>
                  <a:cubicBezTo>
                    <a:pt x="100" y="35"/>
                    <a:pt x="100" y="35"/>
                    <a:pt x="100" y="35"/>
                  </a:cubicBezTo>
                  <a:cubicBezTo>
                    <a:pt x="102" y="41"/>
                    <a:pt x="108" y="46"/>
                    <a:pt x="115" y="48"/>
                  </a:cubicBezTo>
                  <a:cubicBezTo>
                    <a:pt x="115" y="175"/>
                    <a:pt x="115" y="175"/>
                    <a:pt x="115" y="175"/>
                  </a:cubicBezTo>
                  <a:cubicBezTo>
                    <a:pt x="105" y="178"/>
                    <a:pt x="97" y="187"/>
                    <a:pt x="97" y="198"/>
                  </a:cubicBezTo>
                  <a:cubicBezTo>
                    <a:pt x="97" y="212"/>
                    <a:pt x="108" y="223"/>
                    <a:pt x="122" y="223"/>
                  </a:cubicBezTo>
                  <a:cubicBezTo>
                    <a:pt x="135" y="223"/>
                    <a:pt x="146" y="212"/>
                    <a:pt x="146" y="198"/>
                  </a:cubicBezTo>
                  <a:cubicBezTo>
                    <a:pt x="146" y="187"/>
                    <a:pt x="139" y="178"/>
                    <a:pt x="129" y="175"/>
                  </a:cubicBezTo>
                  <a:close/>
                  <a:moveTo>
                    <a:pt x="28" y="36"/>
                  </a:moveTo>
                  <a:cubicBezTo>
                    <a:pt x="22" y="37"/>
                    <a:pt x="17" y="33"/>
                    <a:pt x="16" y="27"/>
                  </a:cubicBezTo>
                  <a:cubicBezTo>
                    <a:pt x="15" y="21"/>
                    <a:pt x="19" y="16"/>
                    <a:pt x="25" y="15"/>
                  </a:cubicBezTo>
                  <a:cubicBezTo>
                    <a:pt x="28" y="14"/>
                    <a:pt x="31" y="15"/>
                    <a:pt x="33" y="17"/>
                  </a:cubicBezTo>
                  <a:cubicBezTo>
                    <a:pt x="35" y="19"/>
                    <a:pt x="37" y="21"/>
                    <a:pt x="37" y="24"/>
                  </a:cubicBezTo>
                  <a:cubicBezTo>
                    <a:pt x="38" y="30"/>
                    <a:pt x="34" y="35"/>
                    <a:pt x="28" y="36"/>
                  </a:cubicBezTo>
                  <a:close/>
                  <a:moveTo>
                    <a:pt x="112" y="25"/>
                  </a:moveTo>
                  <a:cubicBezTo>
                    <a:pt x="112" y="20"/>
                    <a:pt x="116" y="15"/>
                    <a:pt x="122" y="15"/>
                  </a:cubicBezTo>
                  <a:cubicBezTo>
                    <a:pt x="127" y="15"/>
                    <a:pt x="132" y="20"/>
                    <a:pt x="132" y="25"/>
                  </a:cubicBezTo>
                  <a:cubicBezTo>
                    <a:pt x="132" y="31"/>
                    <a:pt x="127" y="35"/>
                    <a:pt x="122" y="35"/>
                  </a:cubicBezTo>
                  <a:cubicBezTo>
                    <a:pt x="122" y="35"/>
                    <a:pt x="122" y="35"/>
                    <a:pt x="122" y="35"/>
                  </a:cubicBezTo>
                  <a:cubicBezTo>
                    <a:pt x="122" y="35"/>
                    <a:pt x="122" y="35"/>
                    <a:pt x="122" y="35"/>
                  </a:cubicBezTo>
                  <a:cubicBezTo>
                    <a:pt x="116" y="35"/>
                    <a:pt x="112" y="31"/>
                    <a:pt x="112" y="25"/>
                  </a:cubicBezTo>
                  <a:close/>
                  <a:moveTo>
                    <a:pt x="122" y="209"/>
                  </a:moveTo>
                  <a:cubicBezTo>
                    <a:pt x="116" y="209"/>
                    <a:pt x="111" y="204"/>
                    <a:pt x="111" y="198"/>
                  </a:cubicBezTo>
                  <a:cubicBezTo>
                    <a:pt x="111" y="192"/>
                    <a:pt x="116" y="188"/>
                    <a:pt x="122" y="188"/>
                  </a:cubicBezTo>
                  <a:cubicBezTo>
                    <a:pt x="128" y="188"/>
                    <a:pt x="132" y="192"/>
                    <a:pt x="132" y="198"/>
                  </a:cubicBezTo>
                  <a:cubicBezTo>
                    <a:pt x="132" y="204"/>
                    <a:pt x="128" y="209"/>
                    <a:pt x="122" y="209"/>
                  </a:cubicBezTo>
                  <a:close/>
                </a:path>
              </a:pathLst>
            </a:custGeom>
            <a:grpFill/>
            <a:ln w="9525">
              <a:no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7" name="Freeform 34">
              <a:extLst>
                <a:ext uri="{FF2B5EF4-FFF2-40B4-BE49-F238E27FC236}">
                  <a16:creationId xmlns:a16="http://schemas.microsoft.com/office/drawing/2014/main" id="{38D85DC2-D77F-4A4B-93B3-CE27F9A973BA}"/>
                </a:ext>
              </a:extLst>
            </p:cNvPr>
            <p:cNvSpPr>
              <a:spLocks noEditPoints="1"/>
            </p:cNvSpPr>
            <p:nvPr/>
          </p:nvSpPr>
          <p:spPr bwMode="auto">
            <a:xfrm>
              <a:off x="1644650" y="7762876"/>
              <a:ext cx="174625" cy="77788"/>
            </a:xfrm>
            <a:custGeom>
              <a:avLst/>
              <a:gdLst>
                <a:gd name="T0" fmla="*/ 166 w 173"/>
                <a:gd name="T1" fmla="*/ 62 h 76"/>
                <a:gd name="T2" fmla="*/ 70 w 173"/>
                <a:gd name="T3" fmla="*/ 62 h 76"/>
                <a:gd name="T4" fmla="*/ 48 w 173"/>
                <a:gd name="T5" fmla="*/ 40 h 76"/>
                <a:gd name="T6" fmla="*/ 44 w 173"/>
                <a:gd name="T7" fmla="*/ 9 h 76"/>
                <a:gd name="T8" fmla="*/ 10 w 173"/>
                <a:gd name="T9" fmla="*/ 9 h 76"/>
                <a:gd name="T10" fmla="*/ 10 w 173"/>
                <a:gd name="T11" fmla="*/ 44 h 76"/>
                <a:gd name="T12" fmla="*/ 27 w 173"/>
                <a:gd name="T13" fmla="*/ 51 h 76"/>
                <a:gd name="T14" fmla="*/ 37 w 173"/>
                <a:gd name="T15" fmla="*/ 49 h 76"/>
                <a:gd name="T16" fmla="*/ 37 w 173"/>
                <a:gd name="T17" fmla="*/ 49 h 76"/>
                <a:gd name="T18" fmla="*/ 65 w 173"/>
                <a:gd name="T19" fmla="*/ 76 h 76"/>
                <a:gd name="T20" fmla="*/ 166 w 173"/>
                <a:gd name="T21" fmla="*/ 76 h 76"/>
                <a:gd name="T22" fmla="*/ 173 w 173"/>
                <a:gd name="T23" fmla="*/ 69 h 76"/>
                <a:gd name="T24" fmla="*/ 166 w 173"/>
                <a:gd name="T25" fmla="*/ 62 h 76"/>
                <a:gd name="T26" fmla="*/ 20 w 173"/>
                <a:gd name="T27" fmla="*/ 34 h 76"/>
                <a:gd name="T28" fmla="*/ 20 w 173"/>
                <a:gd name="T29" fmla="*/ 19 h 76"/>
                <a:gd name="T30" fmla="*/ 27 w 173"/>
                <a:gd name="T31" fmla="*/ 16 h 76"/>
                <a:gd name="T32" fmla="*/ 35 w 173"/>
                <a:gd name="T33" fmla="*/ 19 h 76"/>
                <a:gd name="T34" fmla="*/ 35 w 173"/>
                <a:gd name="T35" fmla="*/ 34 h 76"/>
                <a:gd name="T36" fmla="*/ 20 w 173"/>
                <a:gd name="T37"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3" h="76">
                  <a:moveTo>
                    <a:pt x="166" y="62"/>
                  </a:moveTo>
                  <a:cubicBezTo>
                    <a:pt x="70" y="62"/>
                    <a:pt x="70" y="62"/>
                    <a:pt x="70" y="62"/>
                  </a:cubicBezTo>
                  <a:cubicBezTo>
                    <a:pt x="48" y="40"/>
                    <a:pt x="48" y="40"/>
                    <a:pt x="48" y="40"/>
                  </a:cubicBezTo>
                  <a:cubicBezTo>
                    <a:pt x="54" y="30"/>
                    <a:pt x="53" y="18"/>
                    <a:pt x="44" y="9"/>
                  </a:cubicBezTo>
                  <a:cubicBezTo>
                    <a:pt x="35" y="0"/>
                    <a:pt x="19" y="0"/>
                    <a:pt x="10" y="9"/>
                  </a:cubicBezTo>
                  <a:cubicBezTo>
                    <a:pt x="0" y="19"/>
                    <a:pt x="0" y="35"/>
                    <a:pt x="10" y="44"/>
                  </a:cubicBezTo>
                  <a:cubicBezTo>
                    <a:pt x="15" y="49"/>
                    <a:pt x="21" y="51"/>
                    <a:pt x="27" y="51"/>
                  </a:cubicBezTo>
                  <a:cubicBezTo>
                    <a:pt x="31" y="51"/>
                    <a:pt x="34" y="50"/>
                    <a:pt x="37" y="49"/>
                  </a:cubicBezTo>
                  <a:cubicBezTo>
                    <a:pt x="37" y="49"/>
                    <a:pt x="37" y="49"/>
                    <a:pt x="37" y="49"/>
                  </a:cubicBezTo>
                  <a:cubicBezTo>
                    <a:pt x="65" y="76"/>
                    <a:pt x="65" y="76"/>
                    <a:pt x="65" y="76"/>
                  </a:cubicBezTo>
                  <a:cubicBezTo>
                    <a:pt x="166" y="76"/>
                    <a:pt x="166" y="76"/>
                    <a:pt x="166" y="76"/>
                  </a:cubicBezTo>
                  <a:cubicBezTo>
                    <a:pt x="170" y="76"/>
                    <a:pt x="173" y="73"/>
                    <a:pt x="173" y="69"/>
                  </a:cubicBezTo>
                  <a:cubicBezTo>
                    <a:pt x="173" y="66"/>
                    <a:pt x="170" y="62"/>
                    <a:pt x="166" y="62"/>
                  </a:cubicBezTo>
                  <a:close/>
                  <a:moveTo>
                    <a:pt x="20" y="34"/>
                  </a:moveTo>
                  <a:cubicBezTo>
                    <a:pt x="16" y="30"/>
                    <a:pt x="16" y="23"/>
                    <a:pt x="20" y="19"/>
                  </a:cubicBezTo>
                  <a:cubicBezTo>
                    <a:pt x="22" y="17"/>
                    <a:pt x="24" y="16"/>
                    <a:pt x="27" y="16"/>
                  </a:cubicBezTo>
                  <a:cubicBezTo>
                    <a:pt x="30" y="16"/>
                    <a:pt x="33" y="17"/>
                    <a:pt x="35" y="19"/>
                  </a:cubicBezTo>
                  <a:cubicBezTo>
                    <a:pt x="39" y="23"/>
                    <a:pt x="39" y="30"/>
                    <a:pt x="35" y="34"/>
                  </a:cubicBezTo>
                  <a:cubicBezTo>
                    <a:pt x="30" y="38"/>
                    <a:pt x="24" y="38"/>
                    <a:pt x="20" y="34"/>
                  </a:cubicBezTo>
                  <a:close/>
                </a:path>
              </a:pathLst>
            </a:custGeom>
            <a:grpFill/>
            <a:ln w="9525">
              <a:no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9" name="Rectangle 108">
            <a:extLst>
              <a:ext uri="{FF2B5EF4-FFF2-40B4-BE49-F238E27FC236}">
                <a16:creationId xmlns:a16="http://schemas.microsoft.com/office/drawing/2014/main" id="{3627105F-6C4E-48EB-8C4F-2A82C0A59E0E}"/>
              </a:ext>
            </a:extLst>
          </p:cNvPr>
          <p:cNvSpPr/>
          <p:nvPr/>
        </p:nvSpPr>
        <p:spPr>
          <a:xfrm rot="21157630">
            <a:off x="2481955" y="4325422"/>
            <a:ext cx="1160676" cy="492443"/>
          </a:xfrm>
          <a:prstGeom prst="rect">
            <a:avLst/>
          </a:prstGeom>
        </p:spPr>
        <p:txBody>
          <a:bodyPr wrap="square" lIns="91440" tIns="91440" rIns="91440" bIns="91440">
            <a:sp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Segoe UI Semilight"/>
                <a:ea typeface="+mn-ea"/>
                <a:cs typeface="Segoe UI Semilight" panose="020B0402040204020203" pitchFamily="34" charset="0"/>
              </a:rPr>
              <a:t>Process Automation</a:t>
            </a:r>
          </a:p>
        </p:txBody>
      </p:sp>
      <p:grpSp>
        <p:nvGrpSpPr>
          <p:cNvPr id="110" name="Group 109">
            <a:extLst>
              <a:ext uri="{FF2B5EF4-FFF2-40B4-BE49-F238E27FC236}">
                <a16:creationId xmlns:a16="http://schemas.microsoft.com/office/drawing/2014/main" id="{72AC4EED-F2E4-4C6C-A46E-868822D920E5}"/>
              </a:ext>
            </a:extLst>
          </p:cNvPr>
          <p:cNvGrpSpPr/>
          <p:nvPr/>
        </p:nvGrpSpPr>
        <p:grpSpPr>
          <a:xfrm rot="21157630">
            <a:off x="2779654" y="4269536"/>
            <a:ext cx="528346" cy="110357"/>
            <a:chOff x="-623157" y="7768374"/>
            <a:chExt cx="684655" cy="143006"/>
          </a:xfrm>
        </p:grpSpPr>
        <p:sp>
          <p:nvSpPr>
            <p:cNvPr id="111" name="Rectangle 37">
              <a:extLst>
                <a:ext uri="{FF2B5EF4-FFF2-40B4-BE49-F238E27FC236}">
                  <a16:creationId xmlns:a16="http://schemas.microsoft.com/office/drawing/2014/main" id="{5A7308BB-513F-491D-9EF5-F7AE03256B64}"/>
                </a:ext>
              </a:extLst>
            </p:cNvPr>
            <p:cNvSpPr>
              <a:spLocks noChangeArrowheads="1"/>
            </p:cNvSpPr>
            <p:nvPr/>
          </p:nvSpPr>
          <p:spPr bwMode="auto">
            <a:xfrm>
              <a:off x="-623157" y="7768374"/>
              <a:ext cx="144914" cy="143006"/>
            </a:xfrm>
            <a:prstGeom prst="rect">
              <a:avLst/>
            </a:prstGeom>
            <a:noFill/>
            <a:ln w="12700">
              <a:solidFill>
                <a:schemeClr val="accent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2" name="Rectangle 38">
              <a:extLst>
                <a:ext uri="{FF2B5EF4-FFF2-40B4-BE49-F238E27FC236}">
                  <a16:creationId xmlns:a16="http://schemas.microsoft.com/office/drawing/2014/main" id="{1EAE13C7-D947-4DAB-9011-85DF37202FB0}"/>
                </a:ext>
              </a:extLst>
            </p:cNvPr>
            <p:cNvSpPr>
              <a:spLocks noChangeArrowheads="1"/>
            </p:cNvSpPr>
            <p:nvPr/>
          </p:nvSpPr>
          <p:spPr bwMode="auto">
            <a:xfrm>
              <a:off x="-81509" y="7770281"/>
              <a:ext cx="143007" cy="141099"/>
            </a:xfrm>
            <a:prstGeom prst="rect">
              <a:avLst/>
            </a:prstGeom>
            <a:noFill/>
            <a:ln w="12700">
              <a:solidFill>
                <a:schemeClr val="accent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3" name="Rectangle 39">
              <a:extLst>
                <a:ext uri="{FF2B5EF4-FFF2-40B4-BE49-F238E27FC236}">
                  <a16:creationId xmlns:a16="http://schemas.microsoft.com/office/drawing/2014/main" id="{C552FD9B-4D2F-4D51-A48D-E0B5E90F0105}"/>
                </a:ext>
              </a:extLst>
            </p:cNvPr>
            <p:cNvSpPr>
              <a:spLocks noChangeArrowheads="1"/>
            </p:cNvSpPr>
            <p:nvPr/>
          </p:nvSpPr>
          <p:spPr bwMode="auto">
            <a:xfrm>
              <a:off x="-353616" y="7770281"/>
              <a:ext cx="144914" cy="141099"/>
            </a:xfrm>
            <a:prstGeom prst="rect">
              <a:avLst/>
            </a:prstGeom>
            <a:noFill/>
            <a:ln w="12700">
              <a:solidFill>
                <a:schemeClr val="accent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4" name="Line 40">
              <a:extLst>
                <a:ext uri="{FF2B5EF4-FFF2-40B4-BE49-F238E27FC236}">
                  <a16:creationId xmlns:a16="http://schemas.microsoft.com/office/drawing/2014/main" id="{AAF072A5-6D81-4FB3-A688-ACD0185BBB73}"/>
                </a:ext>
              </a:extLst>
            </p:cNvPr>
            <p:cNvSpPr>
              <a:spLocks noChangeShapeType="1"/>
            </p:cNvSpPr>
            <p:nvPr/>
          </p:nvSpPr>
          <p:spPr bwMode="auto">
            <a:xfrm flipH="1">
              <a:off x="-478243" y="7839877"/>
              <a:ext cx="124627" cy="0"/>
            </a:xfrm>
            <a:prstGeom prst="line">
              <a:avLst/>
            </a:prstGeom>
            <a:noFill/>
            <a:ln w="12700">
              <a:solidFill>
                <a:schemeClr val="accent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5" name="Line 40">
              <a:extLst>
                <a:ext uri="{FF2B5EF4-FFF2-40B4-BE49-F238E27FC236}">
                  <a16:creationId xmlns:a16="http://schemas.microsoft.com/office/drawing/2014/main" id="{E744F968-4F26-4BD5-951E-6CB95A7A2E92}"/>
                </a:ext>
              </a:extLst>
            </p:cNvPr>
            <p:cNvSpPr>
              <a:spLocks noChangeShapeType="1"/>
            </p:cNvSpPr>
            <p:nvPr/>
          </p:nvSpPr>
          <p:spPr bwMode="auto">
            <a:xfrm flipH="1">
              <a:off x="-208702" y="7839877"/>
              <a:ext cx="124627" cy="0"/>
            </a:xfrm>
            <a:prstGeom prst="line">
              <a:avLst/>
            </a:prstGeom>
            <a:noFill/>
            <a:ln w="12700">
              <a:solidFill>
                <a:schemeClr val="accent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29" name="Arc 128">
            <a:extLst>
              <a:ext uri="{FF2B5EF4-FFF2-40B4-BE49-F238E27FC236}">
                <a16:creationId xmlns:a16="http://schemas.microsoft.com/office/drawing/2014/main" id="{860EE926-3514-43E6-B1CA-1921CFFBDE4A}"/>
              </a:ext>
            </a:extLst>
          </p:cNvPr>
          <p:cNvSpPr/>
          <p:nvPr/>
        </p:nvSpPr>
        <p:spPr>
          <a:xfrm rot="15757630">
            <a:off x="3559651" y="3989941"/>
            <a:ext cx="1043980" cy="1043980"/>
          </a:xfrm>
          <a:prstGeom prst="arc">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8" name="Group 23">
            <a:extLst>
              <a:ext uri="{FF2B5EF4-FFF2-40B4-BE49-F238E27FC236}">
                <a16:creationId xmlns:a16="http://schemas.microsoft.com/office/drawing/2014/main" id="{A6288077-B08D-45CA-A808-D08A8144D668}"/>
              </a:ext>
            </a:extLst>
          </p:cNvPr>
          <p:cNvGrpSpPr/>
          <p:nvPr/>
        </p:nvGrpSpPr>
        <p:grpSpPr>
          <a:xfrm rot="21157630">
            <a:off x="3806382" y="3145570"/>
            <a:ext cx="1005538" cy="654052"/>
            <a:chOff x="3542952" y="3318042"/>
            <a:chExt cx="1005538" cy="654052"/>
          </a:xfrm>
        </p:grpSpPr>
        <p:sp>
          <p:nvSpPr>
            <p:cNvPr id="44" name="Rectangle 24">
              <a:extLst>
                <a:ext uri="{FF2B5EF4-FFF2-40B4-BE49-F238E27FC236}">
                  <a16:creationId xmlns:a16="http://schemas.microsoft.com/office/drawing/2014/main" id="{DBDE9108-9254-4E0A-91A2-6AB9B2BD7D54}"/>
                </a:ext>
              </a:extLst>
            </p:cNvPr>
            <p:cNvSpPr/>
            <p:nvPr/>
          </p:nvSpPr>
          <p:spPr>
            <a:xfrm>
              <a:off x="3542952" y="3318042"/>
              <a:ext cx="1005538" cy="3231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rPr>
                <a:t>Virtual Banking</a:t>
              </a:r>
            </a:p>
          </p:txBody>
        </p:sp>
        <p:pic>
          <p:nvPicPr>
            <p:cNvPr id="324" name="Graphic 323" descr="Laptop">
              <a:extLst>
                <a:ext uri="{FF2B5EF4-FFF2-40B4-BE49-F238E27FC236}">
                  <a16:creationId xmlns:a16="http://schemas.microsoft.com/office/drawing/2014/main" id="{5084476A-C2F6-46DB-8FC6-A5AC8621FBF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09260" y="3541359"/>
              <a:ext cx="430735" cy="430735"/>
            </a:xfrm>
            <a:prstGeom prst="rect">
              <a:avLst/>
            </a:prstGeom>
          </p:spPr>
        </p:pic>
      </p:grpSp>
      <p:grpSp>
        <p:nvGrpSpPr>
          <p:cNvPr id="13" name="Group 70">
            <a:extLst>
              <a:ext uri="{FF2B5EF4-FFF2-40B4-BE49-F238E27FC236}">
                <a16:creationId xmlns:a16="http://schemas.microsoft.com/office/drawing/2014/main" id="{FAB826F1-3280-47B0-B90A-9E075218E372}"/>
              </a:ext>
            </a:extLst>
          </p:cNvPr>
          <p:cNvGrpSpPr/>
          <p:nvPr/>
        </p:nvGrpSpPr>
        <p:grpSpPr>
          <a:xfrm rot="19795221">
            <a:off x="3323309" y="2147728"/>
            <a:ext cx="1146785" cy="1066581"/>
            <a:chOff x="3010413" y="3419179"/>
            <a:chExt cx="1146785" cy="1066581"/>
          </a:xfrm>
        </p:grpSpPr>
        <p:sp>
          <p:nvSpPr>
            <p:cNvPr id="206" name="Rectangle 71">
              <a:extLst>
                <a:ext uri="{FF2B5EF4-FFF2-40B4-BE49-F238E27FC236}">
                  <a16:creationId xmlns:a16="http://schemas.microsoft.com/office/drawing/2014/main" id="{FC065025-2C02-445B-AC0A-7EB1204A3167}"/>
                </a:ext>
              </a:extLst>
            </p:cNvPr>
            <p:cNvSpPr/>
            <p:nvPr/>
          </p:nvSpPr>
          <p:spPr>
            <a:xfrm rot="1463805">
              <a:off x="3010413" y="4024095"/>
              <a:ext cx="1146785"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Regulatory Compliance</a:t>
              </a:r>
            </a:p>
          </p:txBody>
        </p:sp>
        <p:pic>
          <p:nvPicPr>
            <p:cNvPr id="325" name="Graphic 324" descr="Document">
              <a:extLst>
                <a:ext uri="{FF2B5EF4-FFF2-40B4-BE49-F238E27FC236}">
                  <a16:creationId xmlns:a16="http://schemas.microsoft.com/office/drawing/2014/main" id="{F3094B6E-A22A-41A2-AB42-5C01AFA30FE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37016" y="3419179"/>
              <a:ext cx="445256" cy="445256"/>
            </a:xfrm>
            <a:prstGeom prst="rect">
              <a:avLst/>
            </a:prstGeom>
          </p:spPr>
        </p:pic>
      </p:grpSp>
      <p:sp>
        <p:nvSpPr>
          <p:cNvPr id="218" name="Rectangle 217">
            <a:extLst>
              <a:ext uri="{FF2B5EF4-FFF2-40B4-BE49-F238E27FC236}">
                <a16:creationId xmlns:a16="http://schemas.microsoft.com/office/drawing/2014/main" id="{C839618B-5173-4062-8C67-B930D723593F}"/>
              </a:ext>
            </a:extLst>
          </p:cNvPr>
          <p:cNvSpPr/>
          <p:nvPr/>
        </p:nvSpPr>
        <p:spPr>
          <a:xfrm rot="21157630">
            <a:off x="1891472" y="4000096"/>
            <a:ext cx="861973" cy="581076"/>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Maintaining Liquidity</a:t>
            </a:r>
          </a:p>
        </p:txBody>
      </p:sp>
      <p:grpSp>
        <p:nvGrpSpPr>
          <p:cNvPr id="326" name="Group 325">
            <a:extLst>
              <a:ext uri="{FF2B5EF4-FFF2-40B4-BE49-F238E27FC236}">
                <a16:creationId xmlns:a16="http://schemas.microsoft.com/office/drawing/2014/main" id="{E9E89DA3-EA6F-4507-AAC5-07DC76906AC0}"/>
              </a:ext>
            </a:extLst>
          </p:cNvPr>
          <p:cNvGrpSpPr/>
          <p:nvPr/>
        </p:nvGrpSpPr>
        <p:grpSpPr>
          <a:xfrm rot="21157630">
            <a:off x="2105076" y="4483726"/>
            <a:ext cx="365803" cy="304289"/>
            <a:chOff x="1882775" y="7007225"/>
            <a:chExt cx="708025" cy="588963"/>
          </a:xfrm>
          <a:solidFill>
            <a:schemeClr val="accent1"/>
          </a:solidFill>
        </p:grpSpPr>
        <p:sp>
          <p:nvSpPr>
            <p:cNvPr id="327" name="Freeform 5">
              <a:extLst>
                <a:ext uri="{FF2B5EF4-FFF2-40B4-BE49-F238E27FC236}">
                  <a16:creationId xmlns:a16="http://schemas.microsoft.com/office/drawing/2014/main" id="{D261C08F-96CE-4998-BBB7-DF19B4C1993E}"/>
                </a:ext>
              </a:extLst>
            </p:cNvPr>
            <p:cNvSpPr>
              <a:spLocks noEditPoints="1"/>
            </p:cNvSpPr>
            <p:nvPr/>
          </p:nvSpPr>
          <p:spPr bwMode="auto">
            <a:xfrm>
              <a:off x="1882775" y="7007225"/>
              <a:ext cx="708025" cy="130175"/>
            </a:xfrm>
            <a:custGeom>
              <a:avLst/>
              <a:gdLst>
                <a:gd name="T0" fmla="*/ 446 w 446"/>
                <a:gd name="T1" fmla="*/ 82 h 82"/>
                <a:gd name="T2" fmla="*/ 0 w 446"/>
                <a:gd name="T3" fmla="*/ 82 h 82"/>
                <a:gd name="T4" fmla="*/ 222 w 446"/>
                <a:gd name="T5" fmla="*/ 0 h 82"/>
                <a:gd name="T6" fmla="*/ 226 w 446"/>
                <a:gd name="T7" fmla="*/ 0 h 82"/>
                <a:gd name="T8" fmla="*/ 446 w 446"/>
                <a:gd name="T9" fmla="*/ 82 h 82"/>
                <a:gd name="T10" fmla="*/ 83 w 446"/>
                <a:gd name="T11" fmla="*/ 67 h 82"/>
                <a:gd name="T12" fmla="*/ 363 w 446"/>
                <a:gd name="T13" fmla="*/ 67 h 82"/>
                <a:gd name="T14" fmla="*/ 222 w 446"/>
                <a:gd name="T15" fmla="*/ 15 h 82"/>
                <a:gd name="T16" fmla="*/ 83 w 446"/>
                <a:gd name="T17" fmla="*/ 6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82">
                  <a:moveTo>
                    <a:pt x="446" y="82"/>
                  </a:moveTo>
                  <a:lnTo>
                    <a:pt x="0" y="82"/>
                  </a:lnTo>
                  <a:lnTo>
                    <a:pt x="222" y="0"/>
                  </a:lnTo>
                  <a:lnTo>
                    <a:pt x="226" y="0"/>
                  </a:lnTo>
                  <a:lnTo>
                    <a:pt x="446" y="82"/>
                  </a:lnTo>
                  <a:close/>
                  <a:moveTo>
                    <a:pt x="83" y="67"/>
                  </a:moveTo>
                  <a:lnTo>
                    <a:pt x="363" y="67"/>
                  </a:lnTo>
                  <a:lnTo>
                    <a:pt x="222" y="15"/>
                  </a:lnTo>
                  <a:lnTo>
                    <a:pt x="8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28" name="Rectangle 6">
              <a:extLst>
                <a:ext uri="{FF2B5EF4-FFF2-40B4-BE49-F238E27FC236}">
                  <a16:creationId xmlns:a16="http://schemas.microsoft.com/office/drawing/2014/main" id="{9A81DF67-65AD-4624-B3FA-D685E759087A}"/>
                </a:ext>
              </a:extLst>
            </p:cNvPr>
            <p:cNvSpPr>
              <a:spLocks noChangeArrowheads="1"/>
            </p:cNvSpPr>
            <p:nvPr/>
          </p:nvSpPr>
          <p:spPr bwMode="auto">
            <a:xfrm>
              <a:off x="1884363" y="7572375"/>
              <a:ext cx="704850"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29" name="Rectangle 7">
              <a:extLst>
                <a:ext uri="{FF2B5EF4-FFF2-40B4-BE49-F238E27FC236}">
                  <a16:creationId xmlns:a16="http://schemas.microsoft.com/office/drawing/2014/main" id="{C1C77767-8702-441F-8FBD-7C93EDAEFECB}"/>
                </a:ext>
              </a:extLst>
            </p:cNvPr>
            <p:cNvSpPr>
              <a:spLocks noChangeArrowheads="1"/>
            </p:cNvSpPr>
            <p:nvPr/>
          </p:nvSpPr>
          <p:spPr bwMode="auto">
            <a:xfrm>
              <a:off x="1919288" y="72691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0" name="Rectangle 8">
              <a:extLst>
                <a:ext uri="{FF2B5EF4-FFF2-40B4-BE49-F238E27FC236}">
                  <a16:creationId xmlns:a16="http://schemas.microsoft.com/office/drawing/2014/main" id="{A45F2723-B76A-4DFC-A047-DA7C41F1B95C}"/>
                </a:ext>
              </a:extLst>
            </p:cNvPr>
            <p:cNvSpPr>
              <a:spLocks noChangeArrowheads="1"/>
            </p:cNvSpPr>
            <p:nvPr/>
          </p:nvSpPr>
          <p:spPr bwMode="auto">
            <a:xfrm>
              <a:off x="1919288" y="72326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1" name="Rectangle 9">
              <a:extLst>
                <a:ext uri="{FF2B5EF4-FFF2-40B4-BE49-F238E27FC236}">
                  <a16:creationId xmlns:a16="http://schemas.microsoft.com/office/drawing/2014/main" id="{FB7B13C8-FFED-41A3-86EF-E5FF6DB9039B}"/>
                </a:ext>
              </a:extLst>
            </p:cNvPr>
            <p:cNvSpPr>
              <a:spLocks noChangeArrowheads="1"/>
            </p:cNvSpPr>
            <p:nvPr/>
          </p:nvSpPr>
          <p:spPr bwMode="auto">
            <a:xfrm>
              <a:off x="1919288" y="71929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2" name="Rectangle 10">
              <a:extLst>
                <a:ext uri="{FF2B5EF4-FFF2-40B4-BE49-F238E27FC236}">
                  <a16:creationId xmlns:a16="http://schemas.microsoft.com/office/drawing/2014/main" id="{C1F44BC1-1AB5-4358-ACFF-461B72990438}"/>
                </a:ext>
              </a:extLst>
            </p:cNvPr>
            <p:cNvSpPr>
              <a:spLocks noChangeArrowheads="1"/>
            </p:cNvSpPr>
            <p:nvPr/>
          </p:nvSpPr>
          <p:spPr bwMode="auto">
            <a:xfrm>
              <a:off x="1957388" y="72691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3" name="Rectangle 11">
              <a:extLst>
                <a:ext uri="{FF2B5EF4-FFF2-40B4-BE49-F238E27FC236}">
                  <a16:creationId xmlns:a16="http://schemas.microsoft.com/office/drawing/2014/main" id="{41CCAB16-D877-46DB-8E39-98D088049985}"/>
                </a:ext>
              </a:extLst>
            </p:cNvPr>
            <p:cNvSpPr>
              <a:spLocks noChangeArrowheads="1"/>
            </p:cNvSpPr>
            <p:nvPr/>
          </p:nvSpPr>
          <p:spPr bwMode="auto">
            <a:xfrm>
              <a:off x="1957388" y="73072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4" name="Rectangle 12">
              <a:extLst>
                <a:ext uri="{FF2B5EF4-FFF2-40B4-BE49-F238E27FC236}">
                  <a16:creationId xmlns:a16="http://schemas.microsoft.com/office/drawing/2014/main" id="{1B476421-2575-4DF5-9D23-B067F512D743}"/>
                </a:ext>
              </a:extLst>
            </p:cNvPr>
            <p:cNvSpPr>
              <a:spLocks noChangeArrowheads="1"/>
            </p:cNvSpPr>
            <p:nvPr/>
          </p:nvSpPr>
          <p:spPr bwMode="auto">
            <a:xfrm>
              <a:off x="1957388" y="72326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5" name="Rectangle 13">
              <a:extLst>
                <a:ext uri="{FF2B5EF4-FFF2-40B4-BE49-F238E27FC236}">
                  <a16:creationId xmlns:a16="http://schemas.microsoft.com/office/drawing/2014/main" id="{A35BBE7A-CAD0-46A9-ACD4-CB7AEE733B13}"/>
                </a:ext>
              </a:extLst>
            </p:cNvPr>
            <p:cNvSpPr>
              <a:spLocks noChangeArrowheads="1"/>
            </p:cNvSpPr>
            <p:nvPr/>
          </p:nvSpPr>
          <p:spPr bwMode="auto">
            <a:xfrm>
              <a:off x="1919288" y="73818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6" name="Rectangle 14">
              <a:extLst>
                <a:ext uri="{FF2B5EF4-FFF2-40B4-BE49-F238E27FC236}">
                  <a16:creationId xmlns:a16="http://schemas.microsoft.com/office/drawing/2014/main" id="{E8702D84-9C10-48F7-9A33-9FA294AE19D0}"/>
                </a:ext>
              </a:extLst>
            </p:cNvPr>
            <p:cNvSpPr>
              <a:spLocks noChangeArrowheads="1"/>
            </p:cNvSpPr>
            <p:nvPr/>
          </p:nvSpPr>
          <p:spPr bwMode="auto">
            <a:xfrm>
              <a:off x="1919288" y="73437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7" name="Rectangle 15">
              <a:extLst>
                <a:ext uri="{FF2B5EF4-FFF2-40B4-BE49-F238E27FC236}">
                  <a16:creationId xmlns:a16="http://schemas.microsoft.com/office/drawing/2014/main" id="{2DA745FA-526C-4772-9104-40AF62F19B9D}"/>
                </a:ext>
              </a:extLst>
            </p:cNvPr>
            <p:cNvSpPr>
              <a:spLocks noChangeArrowheads="1"/>
            </p:cNvSpPr>
            <p:nvPr/>
          </p:nvSpPr>
          <p:spPr bwMode="auto">
            <a:xfrm>
              <a:off x="1919288" y="73072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8" name="Rectangle 16">
              <a:extLst>
                <a:ext uri="{FF2B5EF4-FFF2-40B4-BE49-F238E27FC236}">
                  <a16:creationId xmlns:a16="http://schemas.microsoft.com/office/drawing/2014/main" id="{77609B45-066D-409E-9526-6E3C68A7FFDE}"/>
                </a:ext>
              </a:extLst>
            </p:cNvPr>
            <p:cNvSpPr>
              <a:spLocks noChangeArrowheads="1"/>
            </p:cNvSpPr>
            <p:nvPr/>
          </p:nvSpPr>
          <p:spPr bwMode="auto">
            <a:xfrm>
              <a:off x="1957388" y="73818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9" name="Rectangle 17">
              <a:extLst>
                <a:ext uri="{FF2B5EF4-FFF2-40B4-BE49-F238E27FC236}">
                  <a16:creationId xmlns:a16="http://schemas.microsoft.com/office/drawing/2014/main" id="{ECA497AA-AC59-49F2-84C8-38565D5B50AB}"/>
                </a:ext>
              </a:extLst>
            </p:cNvPr>
            <p:cNvSpPr>
              <a:spLocks noChangeArrowheads="1"/>
            </p:cNvSpPr>
            <p:nvPr/>
          </p:nvSpPr>
          <p:spPr bwMode="auto">
            <a:xfrm>
              <a:off x="1957388" y="73437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0" name="Rectangle 18">
              <a:extLst>
                <a:ext uri="{FF2B5EF4-FFF2-40B4-BE49-F238E27FC236}">
                  <a16:creationId xmlns:a16="http://schemas.microsoft.com/office/drawing/2014/main" id="{61F32B99-9D6B-40FC-ADBA-959C27A4A9C2}"/>
                </a:ext>
              </a:extLst>
            </p:cNvPr>
            <p:cNvSpPr>
              <a:spLocks noChangeArrowheads="1"/>
            </p:cNvSpPr>
            <p:nvPr/>
          </p:nvSpPr>
          <p:spPr bwMode="auto">
            <a:xfrm>
              <a:off x="1995488" y="72326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1" name="Rectangle 19">
              <a:extLst>
                <a:ext uri="{FF2B5EF4-FFF2-40B4-BE49-F238E27FC236}">
                  <a16:creationId xmlns:a16="http://schemas.microsoft.com/office/drawing/2014/main" id="{400D6039-4100-4F5E-A89F-001EBF6902E2}"/>
                </a:ext>
              </a:extLst>
            </p:cNvPr>
            <p:cNvSpPr>
              <a:spLocks noChangeArrowheads="1"/>
            </p:cNvSpPr>
            <p:nvPr/>
          </p:nvSpPr>
          <p:spPr bwMode="auto">
            <a:xfrm>
              <a:off x="1995488" y="72691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2" name="Rectangle 20">
              <a:extLst>
                <a:ext uri="{FF2B5EF4-FFF2-40B4-BE49-F238E27FC236}">
                  <a16:creationId xmlns:a16="http://schemas.microsoft.com/office/drawing/2014/main" id="{13FE775F-748B-4B14-B71A-ABA92B2E1F3D}"/>
                </a:ext>
              </a:extLst>
            </p:cNvPr>
            <p:cNvSpPr>
              <a:spLocks noChangeArrowheads="1"/>
            </p:cNvSpPr>
            <p:nvPr/>
          </p:nvSpPr>
          <p:spPr bwMode="auto">
            <a:xfrm>
              <a:off x="2035175" y="7232650"/>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3" name="Rectangle 21">
              <a:extLst>
                <a:ext uri="{FF2B5EF4-FFF2-40B4-BE49-F238E27FC236}">
                  <a16:creationId xmlns:a16="http://schemas.microsoft.com/office/drawing/2014/main" id="{04CA526A-6915-47E2-94E7-ACA4924FBB32}"/>
                </a:ext>
              </a:extLst>
            </p:cNvPr>
            <p:cNvSpPr>
              <a:spLocks noChangeArrowheads="1"/>
            </p:cNvSpPr>
            <p:nvPr/>
          </p:nvSpPr>
          <p:spPr bwMode="auto">
            <a:xfrm>
              <a:off x="2035175" y="7269163"/>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4" name="Rectangle 22">
              <a:extLst>
                <a:ext uri="{FF2B5EF4-FFF2-40B4-BE49-F238E27FC236}">
                  <a16:creationId xmlns:a16="http://schemas.microsoft.com/office/drawing/2014/main" id="{66DAA295-69A7-4769-A80C-C44BAF5CC79F}"/>
                </a:ext>
              </a:extLst>
            </p:cNvPr>
            <p:cNvSpPr>
              <a:spLocks noChangeArrowheads="1"/>
            </p:cNvSpPr>
            <p:nvPr/>
          </p:nvSpPr>
          <p:spPr bwMode="auto">
            <a:xfrm>
              <a:off x="1995488" y="73818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5" name="Rectangle 23">
              <a:extLst>
                <a:ext uri="{FF2B5EF4-FFF2-40B4-BE49-F238E27FC236}">
                  <a16:creationId xmlns:a16="http://schemas.microsoft.com/office/drawing/2014/main" id="{1515F059-9708-498A-B268-D40A455D32D4}"/>
                </a:ext>
              </a:extLst>
            </p:cNvPr>
            <p:cNvSpPr>
              <a:spLocks noChangeArrowheads="1"/>
            </p:cNvSpPr>
            <p:nvPr/>
          </p:nvSpPr>
          <p:spPr bwMode="auto">
            <a:xfrm>
              <a:off x="1995488" y="73437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6" name="Rectangle 24">
              <a:extLst>
                <a:ext uri="{FF2B5EF4-FFF2-40B4-BE49-F238E27FC236}">
                  <a16:creationId xmlns:a16="http://schemas.microsoft.com/office/drawing/2014/main" id="{2B7CE2E9-A6D2-4E99-903F-85EB3FBD0EDE}"/>
                </a:ext>
              </a:extLst>
            </p:cNvPr>
            <p:cNvSpPr>
              <a:spLocks noChangeArrowheads="1"/>
            </p:cNvSpPr>
            <p:nvPr/>
          </p:nvSpPr>
          <p:spPr bwMode="auto">
            <a:xfrm>
              <a:off x="1995488" y="73072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7" name="Rectangle 25">
              <a:extLst>
                <a:ext uri="{FF2B5EF4-FFF2-40B4-BE49-F238E27FC236}">
                  <a16:creationId xmlns:a16="http://schemas.microsoft.com/office/drawing/2014/main" id="{06F78154-04E5-417C-96C6-0726EB5327C7}"/>
                </a:ext>
              </a:extLst>
            </p:cNvPr>
            <p:cNvSpPr>
              <a:spLocks noChangeArrowheads="1"/>
            </p:cNvSpPr>
            <p:nvPr/>
          </p:nvSpPr>
          <p:spPr bwMode="auto">
            <a:xfrm>
              <a:off x="2035175" y="7381875"/>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8" name="Rectangle 26">
              <a:extLst>
                <a:ext uri="{FF2B5EF4-FFF2-40B4-BE49-F238E27FC236}">
                  <a16:creationId xmlns:a16="http://schemas.microsoft.com/office/drawing/2014/main" id="{9FE037F0-8BEF-4EF1-B0CC-02AA423104C6}"/>
                </a:ext>
              </a:extLst>
            </p:cNvPr>
            <p:cNvSpPr>
              <a:spLocks noChangeArrowheads="1"/>
            </p:cNvSpPr>
            <p:nvPr/>
          </p:nvSpPr>
          <p:spPr bwMode="auto">
            <a:xfrm>
              <a:off x="2035175" y="7307263"/>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9" name="Rectangle 27">
              <a:extLst>
                <a:ext uri="{FF2B5EF4-FFF2-40B4-BE49-F238E27FC236}">
                  <a16:creationId xmlns:a16="http://schemas.microsoft.com/office/drawing/2014/main" id="{7BACD776-AAEA-40A4-89F8-5EDA07B4A575}"/>
                </a:ext>
              </a:extLst>
            </p:cNvPr>
            <p:cNvSpPr>
              <a:spLocks noChangeArrowheads="1"/>
            </p:cNvSpPr>
            <p:nvPr/>
          </p:nvSpPr>
          <p:spPr bwMode="auto">
            <a:xfrm>
              <a:off x="2035175" y="7343775"/>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0" name="Rectangle 28">
              <a:extLst>
                <a:ext uri="{FF2B5EF4-FFF2-40B4-BE49-F238E27FC236}">
                  <a16:creationId xmlns:a16="http://schemas.microsoft.com/office/drawing/2014/main" id="{E283BE8E-F5C4-4A16-A304-D92F3638DE9B}"/>
                </a:ext>
              </a:extLst>
            </p:cNvPr>
            <p:cNvSpPr>
              <a:spLocks noChangeArrowheads="1"/>
            </p:cNvSpPr>
            <p:nvPr/>
          </p:nvSpPr>
          <p:spPr bwMode="auto">
            <a:xfrm>
              <a:off x="1957388" y="7456488"/>
              <a:ext cx="23812"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1" name="Rectangle 29">
              <a:extLst>
                <a:ext uri="{FF2B5EF4-FFF2-40B4-BE49-F238E27FC236}">
                  <a16:creationId xmlns:a16="http://schemas.microsoft.com/office/drawing/2014/main" id="{5914ED81-13B2-4D4A-A31C-43AB11BF1355}"/>
                </a:ext>
              </a:extLst>
            </p:cNvPr>
            <p:cNvSpPr>
              <a:spLocks noChangeArrowheads="1"/>
            </p:cNvSpPr>
            <p:nvPr/>
          </p:nvSpPr>
          <p:spPr bwMode="auto">
            <a:xfrm>
              <a:off x="1957388" y="7418388"/>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2" name="Rectangle 30">
              <a:extLst>
                <a:ext uri="{FF2B5EF4-FFF2-40B4-BE49-F238E27FC236}">
                  <a16:creationId xmlns:a16="http://schemas.microsoft.com/office/drawing/2014/main" id="{F3E46CD3-029E-4478-B8F4-6112C27060C9}"/>
                </a:ext>
              </a:extLst>
            </p:cNvPr>
            <p:cNvSpPr>
              <a:spLocks noChangeArrowheads="1"/>
            </p:cNvSpPr>
            <p:nvPr/>
          </p:nvSpPr>
          <p:spPr bwMode="auto">
            <a:xfrm>
              <a:off x="1919288" y="7418388"/>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3" name="Rectangle 31">
              <a:extLst>
                <a:ext uri="{FF2B5EF4-FFF2-40B4-BE49-F238E27FC236}">
                  <a16:creationId xmlns:a16="http://schemas.microsoft.com/office/drawing/2014/main" id="{76B75007-D852-4E90-8C8D-77FF017AD24E}"/>
                </a:ext>
              </a:extLst>
            </p:cNvPr>
            <p:cNvSpPr>
              <a:spLocks noChangeArrowheads="1"/>
            </p:cNvSpPr>
            <p:nvPr/>
          </p:nvSpPr>
          <p:spPr bwMode="auto">
            <a:xfrm>
              <a:off x="2035175" y="7418388"/>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4" name="Rectangle 32">
              <a:extLst>
                <a:ext uri="{FF2B5EF4-FFF2-40B4-BE49-F238E27FC236}">
                  <a16:creationId xmlns:a16="http://schemas.microsoft.com/office/drawing/2014/main" id="{EA9C8027-1A83-4061-9D8C-9D20F05CCF62}"/>
                </a:ext>
              </a:extLst>
            </p:cNvPr>
            <p:cNvSpPr>
              <a:spLocks noChangeArrowheads="1"/>
            </p:cNvSpPr>
            <p:nvPr/>
          </p:nvSpPr>
          <p:spPr bwMode="auto">
            <a:xfrm>
              <a:off x="1995488" y="7418388"/>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5" name="Rectangle 33">
              <a:extLst>
                <a:ext uri="{FF2B5EF4-FFF2-40B4-BE49-F238E27FC236}">
                  <a16:creationId xmlns:a16="http://schemas.microsoft.com/office/drawing/2014/main" id="{26FA377D-2ADE-4A04-AB17-42B782E1F854}"/>
                </a:ext>
              </a:extLst>
            </p:cNvPr>
            <p:cNvSpPr>
              <a:spLocks noChangeArrowheads="1"/>
            </p:cNvSpPr>
            <p:nvPr/>
          </p:nvSpPr>
          <p:spPr bwMode="auto">
            <a:xfrm>
              <a:off x="1919288" y="749300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6" name="Rectangle 34">
              <a:extLst>
                <a:ext uri="{FF2B5EF4-FFF2-40B4-BE49-F238E27FC236}">
                  <a16:creationId xmlns:a16="http://schemas.microsoft.com/office/drawing/2014/main" id="{B0B94643-3FF4-4C2C-8AEE-A37A6D8DD252}"/>
                </a:ext>
              </a:extLst>
            </p:cNvPr>
            <p:cNvSpPr>
              <a:spLocks noChangeArrowheads="1"/>
            </p:cNvSpPr>
            <p:nvPr/>
          </p:nvSpPr>
          <p:spPr bwMode="auto">
            <a:xfrm>
              <a:off x="1919288" y="7456488"/>
              <a:ext cx="23812"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7" name="Rectangle 35">
              <a:extLst>
                <a:ext uri="{FF2B5EF4-FFF2-40B4-BE49-F238E27FC236}">
                  <a16:creationId xmlns:a16="http://schemas.microsoft.com/office/drawing/2014/main" id="{9D514599-46ED-42DF-88F2-6A37C514B6F1}"/>
                </a:ext>
              </a:extLst>
            </p:cNvPr>
            <p:cNvSpPr>
              <a:spLocks noChangeArrowheads="1"/>
            </p:cNvSpPr>
            <p:nvPr/>
          </p:nvSpPr>
          <p:spPr bwMode="auto">
            <a:xfrm>
              <a:off x="1957388" y="749300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8" name="Rectangle 36">
              <a:extLst>
                <a:ext uri="{FF2B5EF4-FFF2-40B4-BE49-F238E27FC236}">
                  <a16:creationId xmlns:a16="http://schemas.microsoft.com/office/drawing/2014/main" id="{CE861F27-DB6B-4C9D-BC4D-4F38A204E647}"/>
                </a:ext>
              </a:extLst>
            </p:cNvPr>
            <p:cNvSpPr>
              <a:spLocks noChangeArrowheads="1"/>
            </p:cNvSpPr>
            <p:nvPr/>
          </p:nvSpPr>
          <p:spPr bwMode="auto">
            <a:xfrm>
              <a:off x="1995488" y="749300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9" name="Rectangle 37">
              <a:extLst>
                <a:ext uri="{FF2B5EF4-FFF2-40B4-BE49-F238E27FC236}">
                  <a16:creationId xmlns:a16="http://schemas.microsoft.com/office/drawing/2014/main" id="{6664A8BB-2DFF-498E-ABD0-598679E2AEE4}"/>
                </a:ext>
              </a:extLst>
            </p:cNvPr>
            <p:cNvSpPr>
              <a:spLocks noChangeArrowheads="1"/>
            </p:cNvSpPr>
            <p:nvPr/>
          </p:nvSpPr>
          <p:spPr bwMode="auto">
            <a:xfrm>
              <a:off x="1995488" y="7456488"/>
              <a:ext cx="23812"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0" name="Rectangle 38">
              <a:extLst>
                <a:ext uri="{FF2B5EF4-FFF2-40B4-BE49-F238E27FC236}">
                  <a16:creationId xmlns:a16="http://schemas.microsoft.com/office/drawing/2014/main" id="{2E6FE5DB-BB9C-47D3-9F60-CA61E89D0B79}"/>
                </a:ext>
              </a:extLst>
            </p:cNvPr>
            <p:cNvSpPr>
              <a:spLocks noChangeArrowheads="1"/>
            </p:cNvSpPr>
            <p:nvPr/>
          </p:nvSpPr>
          <p:spPr bwMode="auto">
            <a:xfrm>
              <a:off x="2035175" y="7456488"/>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1" name="Rectangle 39">
              <a:extLst>
                <a:ext uri="{FF2B5EF4-FFF2-40B4-BE49-F238E27FC236}">
                  <a16:creationId xmlns:a16="http://schemas.microsoft.com/office/drawing/2014/main" id="{ECF0E937-0A5D-4697-9D36-44E323ED20D9}"/>
                </a:ext>
              </a:extLst>
            </p:cNvPr>
            <p:cNvSpPr>
              <a:spLocks noChangeArrowheads="1"/>
            </p:cNvSpPr>
            <p:nvPr/>
          </p:nvSpPr>
          <p:spPr bwMode="auto">
            <a:xfrm>
              <a:off x="1995488" y="752951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2" name="Rectangle 40">
              <a:extLst>
                <a:ext uri="{FF2B5EF4-FFF2-40B4-BE49-F238E27FC236}">
                  <a16:creationId xmlns:a16="http://schemas.microsoft.com/office/drawing/2014/main" id="{E134179C-06BB-46AA-A8D7-D2DA952AF286}"/>
                </a:ext>
              </a:extLst>
            </p:cNvPr>
            <p:cNvSpPr>
              <a:spLocks noChangeArrowheads="1"/>
            </p:cNvSpPr>
            <p:nvPr/>
          </p:nvSpPr>
          <p:spPr bwMode="auto">
            <a:xfrm>
              <a:off x="2035175" y="7493000"/>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3" name="Rectangle 41">
              <a:extLst>
                <a:ext uri="{FF2B5EF4-FFF2-40B4-BE49-F238E27FC236}">
                  <a16:creationId xmlns:a16="http://schemas.microsoft.com/office/drawing/2014/main" id="{54E9B17E-5931-4C62-A0DE-2B5836698C0C}"/>
                </a:ext>
              </a:extLst>
            </p:cNvPr>
            <p:cNvSpPr>
              <a:spLocks noChangeArrowheads="1"/>
            </p:cNvSpPr>
            <p:nvPr/>
          </p:nvSpPr>
          <p:spPr bwMode="auto">
            <a:xfrm>
              <a:off x="1957388" y="752951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4" name="Rectangle 42">
              <a:extLst>
                <a:ext uri="{FF2B5EF4-FFF2-40B4-BE49-F238E27FC236}">
                  <a16:creationId xmlns:a16="http://schemas.microsoft.com/office/drawing/2014/main" id="{267694BE-DD7B-42EA-8A7A-4682019D2985}"/>
                </a:ext>
              </a:extLst>
            </p:cNvPr>
            <p:cNvSpPr>
              <a:spLocks noChangeArrowheads="1"/>
            </p:cNvSpPr>
            <p:nvPr/>
          </p:nvSpPr>
          <p:spPr bwMode="auto">
            <a:xfrm>
              <a:off x="2035175" y="7529513"/>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5" name="Rectangle 43">
              <a:extLst>
                <a:ext uri="{FF2B5EF4-FFF2-40B4-BE49-F238E27FC236}">
                  <a16:creationId xmlns:a16="http://schemas.microsoft.com/office/drawing/2014/main" id="{A85C58D2-EC4E-4C8F-A884-1A5FF1176DA0}"/>
                </a:ext>
              </a:extLst>
            </p:cNvPr>
            <p:cNvSpPr>
              <a:spLocks noChangeArrowheads="1"/>
            </p:cNvSpPr>
            <p:nvPr/>
          </p:nvSpPr>
          <p:spPr bwMode="auto">
            <a:xfrm>
              <a:off x="1919288" y="752951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6" name="Rectangle 44">
              <a:extLst>
                <a:ext uri="{FF2B5EF4-FFF2-40B4-BE49-F238E27FC236}">
                  <a16:creationId xmlns:a16="http://schemas.microsoft.com/office/drawing/2014/main" id="{8B33CA63-10A1-4C0B-80DD-4455CA08F63D}"/>
                </a:ext>
              </a:extLst>
            </p:cNvPr>
            <p:cNvSpPr>
              <a:spLocks noChangeArrowheads="1"/>
            </p:cNvSpPr>
            <p:nvPr/>
          </p:nvSpPr>
          <p:spPr bwMode="auto">
            <a:xfrm>
              <a:off x="1995488" y="71929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7" name="Rectangle 45">
              <a:extLst>
                <a:ext uri="{FF2B5EF4-FFF2-40B4-BE49-F238E27FC236}">
                  <a16:creationId xmlns:a16="http://schemas.microsoft.com/office/drawing/2014/main" id="{CED04AB9-6D72-42AE-B319-312CD0AD281B}"/>
                </a:ext>
              </a:extLst>
            </p:cNvPr>
            <p:cNvSpPr>
              <a:spLocks noChangeArrowheads="1"/>
            </p:cNvSpPr>
            <p:nvPr/>
          </p:nvSpPr>
          <p:spPr bwMode="auto">
            <a:xfrm>
              <a:off x="1995488" y="71564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Rectangle 46">
              <a:extLst>
                <a:ext uri="{FF2B5EF4-FFF2-40B4-BE49-F238E27FC236}">
                  <a16:creationId xmlns:a16="http://schemas.microsoft.com/office/drawing/2014/main" id="{730AC098-9420-4C00-B8B7-0B4CC60B9E21}"/>
                </a:ext>
              </a:extLst>
            </p:cNvPr>
            <p:cNvSpPr>
              <a:spLocks noChangeArrowheads="1"/>
            </p:cNvSpPr>
            <p:nvPr/>
          </p:nvSpPr>
          <p:spPr bwMode="auto">
            <a:xfrm>
              <a:off x="2035175" y="7192963"/>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47">
              <a:extLst>
                <a:ext uri="{FF2B5EF4-FFF2-40B4-BE49-F238E27FC236}">
                  <a16:creationId xmlns:a16="http://schemas.microsoft.com/office/drawing/2014/main" id="{8E042371-A95E-4000-AD46-2081AE4BC658}"/>
                </a:ext>
              </a:extLst>
            </p:cNvPr>
            <p:cNvSpPr>
              <a:spLocks noChangeArrowheads="1"/>
            </p:cNvSpPr>
            <p:nvPr/>
          </p:nvSpPr>
          <p:spPr bwMode="auto">
            <a:xfrm>
              <a:off x="2035175" y="7156450"/>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48">
              <a:extLst>
                <a:ext uri="{FF2B5EF4-FFF2-40B4-BE49-F238E27FC236}">
                  <a16:creationId xmlns:a16="http://schemas.microsoft.com/office/drawing/2014/main" id="{50B2BF15-4546-4A5B-B29D-23DAFFEF4C28}"/>
                </a:ext>
              </a:extLst>
            </p:cNvPr>
            <p:cNvSpPr>
              <a:spLocks noChangeArrowheads="1"/>
            </p:cNvSpPr>
            <p:nvPr/>
          </p:nvSpPr>
          <p:spPr bwMode="auto">
            <a:xfrm>
              <a:off x="1957388" y="71929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49">
              <a:extLst>
                <a:ext uri="{FF2B5EF4-FFF2-40B4-BE49-F238E27FC236}">
                  <a16:creationId xmlns:a16="http://schemas.microsoft.com/office/drawing/2014/main" id="{F56F4E47-0D5C-4E26-BB87-B896534E9BD5}"/>
                </a:ext>
              </a:extLst>
            </p:cNvPr>
            <p:cNvSpPr>
              <a:spLocks noChangeArrowheads="1"/>
            </p:cNvSpPr>
            <p:nvPr/>
          </p:nvSpPr>
          <p:spPr bwMode="auto">
            <a:xfrm>
              <a:off x="1957388" y="71564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Rectangle 50">
              <a:extLst>
                <a:ext uri="{FF2B5EF4-FFF2-40B4-BE49-F238E27FC236}">
                  <a16:creationId xmlns:a16="http://schemas.microsoft.com/office/drawing/2014/main" id="{882D5EB5-0D07-4307-8DB1-49673AA478DC}"/>
                </a:ext>
              </a:extLst>
            </p:cNvPr>
            <p:cNvSpPr>
              <a:spLocks noChangeArrowheads="1"/>
            </p:cNvSpPr>
            <p:nvPr/>
          </p:nvSpPr>
          <p:spPr bwMode="auto">
            <a:xfrm>
              <a:off x="1919288" y="71564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Rectangle 51">
              <a:extLst>
                <a:ext uri="{FF2B5EF4-FFF2-40B4-BE49-F238E27FC236}">
                  <a16:creationId xmlns:a16="http://schemas.microsoft.com/office/drawing/2014/main" id="{93C4C36F-062D-407D-BD82-6953DDFD4E75}"/>
                </a:ext>
              </a:extLst>
            </p:cNvPr>
            <p:cNvSpPr>
              <a:spLocks noChangeArrowheads="1"/>
            </p:cNvSpPr>
            <p:nvPr/>
          </p:nvSpPr>
          <p:spPr bwMode="auto">
            <a:xfrm>
              <a:off x="2416175" y="7269163"/>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Rectangle 52">
              <a:extLst>
                <a:ext uri="{FF2B5EF4-FFF2-40B4-BE49-F238E27FC236}">
                  <a16:creationId xmlns:a16="http://schemas.microsoft.com/office/drawing/2014/main" id="{BB44397E-1EB9-4A8C-BEA7-E4E4F6D786A3}"/>
                </a:ext>
              </a:extLst>
            </p:cNvPr>
            <p:cNvSpPr>
              <a:spLocks noChangeArrowheads="1"/>
            </p:cNvSpPr>
            <p:nvPr/>
          </p:nvSpPr>
          <p:spPr bwMode="auto">
            <a:xfrm>
              <a:off x="2416175" y="7232650"/>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Rectangle 53">
              <a:extLst>
                <a:ext uri="{FF2B5EF4-FFF2-40B4-BE49-F238E27FC236}">
                  <a16:creationId xmlns:a16="http://schemas.microsoft.com/office/drawing/2014/main" id="{87FF0BC9-0814-4738-871D-F7E8D4F6E0FB}"/>
                </a:ext>
              </a:extLst>
            </p:cNvPr>
            <p:cNvSpPr>
              <a:spLocks noChangeArrowheads="1"/>
            </p:cNvSpPr>
            <p:nvPr/>
          </p:nvSpPr>
          <p:spPr bwMode="auto">
            <a:xfrm>
              <a:off x="2416175" y="7192963"/>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6" name="Rectangle 54">
              <a:extLst>
                <a:ext uri="{FF2B5EF4-FFF2-40B4-BE49-F238E27FC236}">
                  <a16:creationId xmlns:a16="http://schemas.microsoft.com/office/drawing/2014/main" id="{583A53CA-C707-442B-8203-4A0288F2FC83}"/>
                </a:ext>
              </a:extLst>
            </p:cNvPr>
            <p:cNvSpPr>
              <a:spLocks noChangeArrowheads="1"/>
            </p:cNvSpPr>
            <p:nvPr/>
          </p:nvSpPr>
          <p:spPr bwMode="auto">
            <a:xfrm>
              <a:off x="2454275" y="72691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7" name="Rectangle 55">
              <a:extLst>
                <a:ext uri="{FF2B5EF4-FFF2-40B4-BE49-F238E27FC236}">
                  <a16:creationId xmlns:a16="http://schemas.microsoft.com/office/drawing/2014/main" id="{B17CD20F-58D2-4D02-9597-28B545ACEF89}"/>
                </a:ext>
              </a:extLst>
            </p:cNvPr>
            <p:cNvSpPr>
              <a:spLocks noChangeArrowheads="1"/>
            </p:cNvSpPr>
            <p:nvPr/>
          </p:nvSpPr>
          <p:spPr bwMode="auto">
            <a:xfrm>
              <a:off x="2454275" y="73072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8" name="Rectangle 56">
              <a:extLst>
                <a:ext uri="{FF2B5EF4-FFF2-40B4-BE49-F238E27FC236}">
                  <a16:creationId xmlns:a16="http://schemas.microsoft.com/office/drawing/2014/main" id="{BABB2081-1BDF-4529-A464-3CF59FB53D7D}"/>
                </a:ext>
              </a:extLst>
            </p:cNvPr>
            <p:cNvSpPr>
              <a:spLocks noChangeArrowheads="1"/>
            </p:cNvSpPr>
            <p:nvPr/>
          </p:nvSpPr>
          <p:spPr bwMode="auto">
            <a:xfrm>
              <a:off x="2454275" y="72326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Rectangle 57">
              <a:extLst>
                <a:ext uri="{FF2B5EF4-FFF2-40B4-BE49-F238E27FC236}">
                  <a16:creationId xmlns:a16="http://schemas.microsoft.com/office/drawing/2014/main" id="{C5D5B800-3C21-49FD-B3B8-C82F24321DE8}"/>
                </a:ext>
              </a:extLst>
            </p:cNvPr>
            <p:cNvSpPr>
              <a:spLocks noChangeArrowheads="1"/>
            </p:cNvSpPr>
            <p:nvPr/>
          </p:nvSpPr>
          <p:spPr bwMode="auto">
            <a:xfrm>
              <a:off x="2416175" y="7381875"/>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Rectangle 58">
              <a:extLst>
                <a:ext uri="{FF2B5EF4-FFF2-40B4-BE49-F238E27FC236}">
                  <a16:creationId xmlns:a16="http://schemas.microsoft.com/office/drawing/2014/main" id="{87055C78-0192-46EA-97CE-1ACB4D9677DE}"/>
                </a:ext>
              </a:extLst>
            </p:cNvPr>
            <p:cNvSpPr>
              <a:spLocks noChangeArrowheads="1"/>
            </p:cNvSpPr>
            <p:nvPr/>
          </p:nvSpPr>
          <p:spPr bwMode="auto">
            <a:xfrm>
              <a:off x="2416175" y="7343775"/>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Rectangle 59">
              <a:extLst>
                <a:ext uri="{FF2B5EF4-FFF2-40B4-BE49-F238E27FC236}">
                  <a16:creationId xmlns:a16="http://schemas.microsoft.com/office/drawing/2014/main" id="{D4B0F500-F0FE-49A0-9C75-FEDFF5A1FCC6}"/>
                </a:ext>
              </a:extLst>
            </p:cNvPr>
            <p:cNvSpPr>
              <a:spLocks noChangeArrowheads="1"/>
            </p:cNvSpPr>
            <p:nvPr/>
          </p:nvSpPr>
          <p:spPr bwMode="auto">
            <a:xfrm>
              <a:off x="2416175" y="7307263"/>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Rectangle 60">
              <a:extLst>
                <a:ext uri="{FF2B5EF4-FFF2-40B4-BE49-F238E27FC236}">
                  <a16:creationId xmlns:a16="http://schemas.microsoft.com/office/drawing/2014/main" id="{433ACE04-2608-44DC-981A-7782D755909D}"/>
                </a:ext>
              </a:extLst>
            </p:cNvPr>
            <p:cNvSpPr>
              <a:spLocks noChangeArrowheads="1"/>
            </p:cNvSpPr>
            <p:nvPr/>
          </p:nvSpPr>
          <p:spPr bwMode="auto">
            <a:xfrm>
              <a:off x="2454275" y="73818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3" name="Rectangle 61">
              <a:extLst>
                <a:ext uri="{FF2B5EF4-FFF2-40B4-BE49-F238E27FC236}">
                  <a16:creationId xmlns:a16="http://schemas.microsoft.com/office/drawing/2014/main" id="{0E5CDED6-E515-40F5-80AF-5970596B2000}"/>
                </a:ext>
              </a:extLst>
            </p:cNvPr>
            <p:cNvSpPr>
              <a:spLocks noChangeArrowheads="1"/>
            </p:cNvSpPr>
            <p:nvPr/>
          </p:nvSpPr>
          <p:spPr bwMode="auto">
            <a:xfrm>
              <a:off x="2454275" y="73437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4" name="Rectangle 62">
              <a:extLst>
                <a:ext uri="{FF2B5EF4-FFF2-40B4-BE49-F238E27FC236}">
                  <a16:creationId xmlns:a16="http://schemas.microsoft.com/office/drawing/2014/main" id="{CCDC7F7E-76FD-4F62-AF00-A38E3C34B47D}"/>
                </a:ext>
              </a:extLst>
            </p:cNvPr>
            <p:cNvSpPr>
              <a:spLocks noChangeArrowheads="1"/>
            </p:cNvSpPr>
            <p:nvPr/>
          </p:nvSpPr>
          <p:spPr bwMode="auto">
            <a:xfrm>
              <a:off x="2492375" y="72326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5" name="Rectangle 63">
              <a:extLst>
                <a:ext uri="{FF2B5EF4-FFF2-40B4-BE49-F238E27FC236}">
                  <a16:creationId xmlns:a16="http://schemas.microsoft.com/office/drawing/2014/main" id="{8772A3C1-6CAC-44E1-89C3-B4976C298D28}"/>
                </a:ext>
              </a:extLst>
            </p:cNvPr>
            <p:cNvSpPr>
              <a:spLocks noChangeArrowheads="1"/>
            </p:cNvSpPr>
            <p:nvPr/>
          </p:nvSpPr>
          <p:spPr bwMode="auto">
            <a:xfrm>
              <a:off x="2492375" y="72691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Rectangle 64">
              <a:extLst>
                <a:ext uri="{FF2B5EF4-FFF2-40B4-BE49-F238E27FC236}">
                  <a16:creationId xmlns:a16="http://schemas.microsoft.com/office/drawing/2014/main" id="{88371913-324D-422F-BBBA-CE58067EFD72}"/>
                </a:ext>
              </a:extLst>
            </p:cNvPr>
            <p:cNvSpPr>
              <a:spLocks noChangeArrowheads="1"/>
            </p:cNvSpPr>
            <p:nvPr/>
          </p:nvSpPr>
          <p:spPr bwMode="auto">
            <a:xfrm>
              <a:off x="2530475" y="72326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Rectangle 65">
              <a:extLst>
                <a:ext uri="{FF2B5EF4-FFF2-40B4-BE49-F238E27FC236}">
                  <a16:creationId xmlns:a16="http://schemas.microsoft.com/office/drawing/2014/main" id="{8A2DDC11-6367-42A2-9615-D5D03CBF487C}"/>
                </a:ext>
              </a:extLst>
            </p:cNvPr>
            <p:cNvSpPr>
              <a:spLocks noChangeArrowheads="1"/>
            </p:cNvSpPr>
            <p:nvPr/>
          </p:nvSpPr>
          <p:spPr bwMode="auto">
            <a:xfrm>
              <a:off x="2530475" y="72691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Rectangle 66">
              <a:extLst>
                <a:ext uri="{FF2B5EF4-FFF2-40B4-BE49-F238E27FC236}">
                  <a16:creationId xmlns:a16="http://schemas.microsoft.com/office/drawing/2014/main" id="{81EDBB7A-6A96-495A-894B-C10FCCC541BF}"/>
                </a:ext>
              </a:extLst>
            </p:cNvPr>
            <p:cNvSpPr>
              <a:spLocks noChangeArrowheads="1"/>
            </p:cNvSpPr>
            <p:nvPr/>
          </p:nvSpPr>
          <p:spPr bwMode="auto">
            <a:xfrm>
              <a:off x="2492375" y="73818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Rectangle 67">
              <a:extLst>
                <a:ext uri="{FF2B5EF4-FFF2-40B4-BE49-F238E27FC236}">
                  <a16:creationId xmlns:a16="http://schemas.microsoft.com/office/drawing/2014/main" id="{1B93C1EC-765A-4A61-A7C0-10D8CEB25D47}"/>
                </a:ext>
              </a:extLst>
            </p:cNvPr>
            <p:cNvSpPr>
              <a:spLocks noChangeArrowheads="1"/>
            </p:cNvSpPr>
            <p:nvPr/>
          </p:nvSpPr>
          <p:spPr bwMode="auto">
            <a:xfrm>
              <a:off x="2492375" y="73437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Rectangle 68">
              <a:extLst>
                <a:ext uri="{FF2B5EF4-FFF2-40B4-BE49-F238E27FC236}">
                  <a16:creationId xmlns:a16="http://schemas.microsoft.com/office/drawing/2014/main" id="{F850825D-3BEE-4F88-8F57-FCD9456B4FC0}"/>
                </a:ext>
              </a:extLst>
            </p:cNvPr>
            <p:cNvSpPr>
              <a:spLocks noChangeArrowheads="1"/>
            </p:cNvSpPr>
            <p:nvPr/>
          </p:nvSpPr>
          <p:spPr bwMode="auto">
            <a:xfrm>
              <a:off x="2492375" y="73072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Rectangle 69">
              <a:extLst>
                <a:ext uri="{FF2B5EF4-FFF2-40B4-BE49-F238E27FC236}">
                  <a16:creationId xmlns:a16="http://schemas.microsoft.com/office/drawing/2014/main" id="{5D4FEEFA-D69E-49D7-BE2E-98770A78CB4B}"/>
                </a:ext>
              </a:extLst>
            </p:cNvPr>
            <p:cNvSpPr>
              <a:spLocks noChangeArrowheads="1"/>
            </p:cNvSpPr>
            <p:nvPr/>
          </p:nvSpPr>
          <p:spPr bwMode="auto">
            <a:xfrm>
              <a:off x="2530475" y="73818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2" name="Rectangle 70">
              <a:extLst>
                <a:ext uri="{FF2B5EF4-FFF2-40B4-BE49-F238E27FC236}">
                  <a16:creationId xmlns:a16="http://schemas.microsoft.com/office/drawing/2014/main" id="{2FECE775-5760-48A0-A674-D38BB3E6AC5D}"/>
                </a:ext>
              </a:extLst>
            </p:cNvPr>
            <p:cNvSpPr>
              <a:spLocks noChangeArrowheads="1"/>
            </p:cNvSpPr>
            <p:nvPr/>
          </p:nvSpPr>
          <p:spPr bwMode="auto">
            <a:xfrm>
              <a:off x="2530475" y="73072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3" name="Rectangle 71">
              <a:extLst>
                <a:ext uri="{FF2B5EF4-FFF2-40B4-BE49-F238E27FC236}">
                  <a16:creationId xmlns:a16="http://schemas.microsoft.com/office/drawing/2014/main" id="{08798D15-AE56-4190-810F-AC712E2BD0C7}"/>
                </a:ext>
              </a:extLst>
            </p:cNvPr>
            <p:cNvSpPr>
              <a:spLocks noChangeArrowheads="1"/>
            </p:cNvSpPr>
            <p:nvPr/>
          </p:nvSpPr>
          <p:spPr bwMode="auto">
            <a:xfrm>
              <a:off x="2530475" y="7343775"/>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4" name="Rectangle 72">
              <a:extLst>
                <a:ext uri="{FF2B5EF4-FFF2-40B4-BE49-F238E27FC236}">
                  <a16:creationId xmlns:a16="http://schemas.microsoft.com/office/drawing/2014/main" id="{9180D6B8-956A-41A6-A9B3-BFA7B343BFB8}"/>
                </a:ext>
              </a:extLst>
            </p:cNvPr>
            <p:cNvSpPr>
              <a:spLocks noChangeArrowheads="1"/>
            </p:cNvSpPr>
            <p:nvPr/>
          </p:nvSpPr>
          <p:spPr bwMode="auto">
            <a:xfrm>
              <a:off x="2454275" y="7456488"/>
              <a:ext cx="23812"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Rectangle 73">
              <a:extLst>
                <a:ext uri="{FF2B5EF4-FFF2-40B4-BE49-F238E27FC236}">
                  <a16:creationId xmlns:a16="http://schemas.microsoft.com/office/drawing/2014/main" id="{7793F4A4-A4F8-4545-AB11-CC0AD63475CC}"/>
                </a:ext>
              </a:extLst>
            </p:cNvPr>
            <p:cNvSpPr>
              <a:spLocks noChangeArrowheads="1"/>
            </p:cNvSpPr>
            <p:nvPr/>
          </p:nvSpPr>
          <p:spPr bwMode="auto">
            <a:xfrm>
              <a:off x="2454275" y="7418388"/>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Rectangle 74">
              <a:extLst>
                <a:ext uri="{FF2B5EF4-FFF2-40B4-BE49-F238E27FC236}">
                  <a16:creationId xmlns:a16="http://schemas.microsoft.com/office/drawing/2014/main" id="{F579BC9A-1E6D-44C7-8D5A-82BAE2A555BB}"/>
                </a:ext>
              </a:extLst>
            </p:cNvPr>
            <p:cNvSpPr>
              <a:spLocks noChangeArrowheads="1"/>
            </p:cNvSpPr>
            <p:nvPr/>
          </p:nvSpPr>
          <p:spPr bwMode="auto">
            <a:xfrm>
              <a:off x="2416175" y="7418388"/>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Rectangle 75">
              <a:extLst>
                <a:ext uri="{FF2B5EF4-FFF2-40B4-BE49-F238E27FC236}">
                  <a16:creationId xmlns:a16="http://schemas.microsoft.com/office/drawing/2014/main" id="{DCEC9CC6-AE8A-4861-BC5D-B6B0A8D9D584}"/>
                </a:ext>
              </a:extLst>
            </p:cNvPr>
            <p:cNvSpPr>
              <a:spLocks noChangeArrowheads="1"/>
            </p:cNvSpPr>
            <p:nvPr/>
          </p:nvSpPr>
          <p:spPr bwMode="auto">
            <a:xfrm>
              <a:off x="2530475" y="7418388"/>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8" name="Rectangle 76">
              <a:extLst>
                <a:ext uri="{FF2B5EF4-FFF2-40B4-BE49-F238E27FC236}">
                  <a16:creationId xmlns:a16="http://schemas.microsoft.com/office/drawing/2014/main" id="{481FDAEE-BE7A-40E3-A56E-206850013918}"/>
                </a:ext>
              </a:extLst>
            </p:cNvPr>
            <p:cNvSpPr>
              <a:spLocks noChangeArrowheads="1"/>
            </p:cNvSpPr>
            <p:nvPr/>
          </p:nvSpPr>
          <p:spPr bwMode="auto">
            <a:xfrm>
              <a:off x="2492375" y="7418388"/>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9" name="Rectangle 77">
              <a:extLst>
                <a:ext uri="{FF2B5EF4-FFF2-40B4-BE49-F238E27FC236}">
                  <a16:creationId xmlns:a16="http://schemas.microsoft.com/office/drawing/2014/main" id="{D104E9A5-89FD-4BE1-AE9F-20814D4AF52E}"/>
                </a:ext>
              </a:extLst>
            </p:cNvPr>
            <p:cNvSpPr>
              <a:spLocks noChangeArrowheads="1"/>
            </p:cNvSpPr>
            <p:nvPr/>
          </p:nvSpPr>
          <p:spPr bwMode="auto">
            <a:xfrm>
              <a:off x="2416175" y="7493000"/>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0" name="Rectangle 78">
              <a:extLst>
                <a:ext uri="{FF2B5EF4-FFF2-40B4-BE49-F238E27FC236}">
                  <a16:creationId xmlns:a16="http://schemas.microsoft.com/office/drawing/2014/main" id="{F3011956-4229-4A34-853B-813CBCC9599E}"/>
                </a:ext>
              </a:extLst>
            </p:cNvPr>
            <p:cNvSpPr>
              <a:spLocks noChangeArrowheads="1"/>
            </p:cNvSpPr>
            <p:nvPr/>
          </p:nvSpPr>
          <p:spPr bwMode="auto">
            <a:xfrm>
              <a:off x="2416175" y="7456488"/>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Rectangle 79">
              <a:extLst>
                <a:ext uri="{FF2B5EF4-FFF2-40B4-BE49-F238E27FC236}">
                  <a16:creationId xmlns:a16="http://schemas.microsoft.com/office/drawing/2014/main" id="{83C0C9EE-5733-4584-94D7-EF27920EBDDE}"/>
                </a:ext>
              </a:extLst>
            </p:cNvPr>
            <p:cNvSpPr>
              <a:spLocks noChangeArrowheads="1"/>
            </p:cNvSpPr>
            <p:nvPr/>
          </p:nvSpPr>
          <p:spPr bwMode="auto">
            <a:xfrm>
              <a:off x="2454275" y="749300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Rectangle 80">
              <a:extLst>
                <a:ext uri="{FF2B5EF4-FFF2-40B4-BE49-F238E27FC236}">
                  <a16:creationId xmlns:a16="http://schemas.microsoft.com/office/drawing/2014/main" id="{D1CD8B08-40B9-4D08-AB7E-70D4A0D795D8}"/>
                </a:ext>
              </a:extLst>
            </p:cNvPr>
            <p:cNvSpPr>
              <a:spLocks noChangeArrowheads="1"/>
            </p:cNvSpPr>
            <p:nvPr/>
          </p:nvSpPr>
          <p:spPr bwMode="auto">
            <a:xfrm>
              <a:off x="2492375" y="749300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3" name="Rectangle 81">
              <a:extLst>
                <a:ext uri="{FF2B5EF4-FFF2-40B4-BE49-F238E27FC236}">
                  <a16:creationId xmlns:a16="http://schemas.microsoft.com/office/drawing/2014/main" id="{59AC8870-A74F-424A-B235-2C583B18E430}"/>
                </a:ext>
              </a:extLst>
            </p:cNvPr>
            <p:cNvSpPr>
              <a:spLocks noChangeArrowheads="1"/>
            </p:cNvSpPr>
            <p:nvPr/>
          </p:nvSpPr>
          <p:spPr bwMode="auto">
            <a:xfrm>
              <a:off x="2492375" y="7456488"/>
              <a:ext cx="23812"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4" name="Rectangle 82">
              <a:extLst>
                <a:ext uri="{FF2B5EF4-FFF2-40B4-BE49-F238E27FC236}">
                  <a16:creationId xmlns:a16="http://schemas.microsoft.com/office/drawing/2014/main" id="{97B911CA-1C54-4379-8D92-5151078FB0AD}"/>
                </a:ext>
              </a:extLst>
            </p:cNvPr>
            <p:cNvSpPr>
              <a:spLocks noChangeArrowheads="1"/>
            </p:cNvSpPr>
            <p:nvPr/>
          </p:nvSpPr>
          <p:spPr bwMode="auto">
            <a:xfrm>
              <a:off x="2530475" y="7456488"/>
              <a:ext cx="23812"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5" name="Rectangle 83">
              <a:extLst>
                <a:ext uri="{FF2B5EF4-FFF2-40B4-BE49-F238E27FC236}">
                  <a16:creationId xmlns:a16="http://schemas.microsoft.com/office/drawing/2014/main" id="{0EA2BB09-79C4-4DE8-A24A-09D0C91545E8}"/>
                </a:ext>
              </a:extLst>
            </p:cNvPr>
            <p:cNvSpPr>
              <a:spLocks noChangeArrowheads="1"/>
            </p:cNvSpPr>
            <p:nvPr/>
          </p:nvSpPr>
          <p:spPr bwMode="auto">
            <a:xfrm>
              <a:off x="2492375" y="752951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Rectangle 84">
              <a:extLst>
                <a:ext uri="{FF2B5EF4-FFF2-40B4-BE49-F238E27FC236}">
                  <a16:creationId xmlns:a16="http://schemas.microsoft.com/office/drawing/2014/main" id="{971CED13-7E0F-49E9-9C8A-1C3DF9A64FC7}"/>
                </a:ext>
              </a:extLst>
            </p:cNvPr>
            <p:cNvSpPr>
              <a:spLocks noChangeArrowheads="1"/>
            </p:cNvSpPr>
            <p:nvPr/>
          </p:nvSpPr>
          <p:spPr bwMode="auto">
            <a:xfrm>
              <a:off x="2530475" y="749300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Rectangle 85">
              <a:extLst>
                <a:ext uri="{FF2B5EF4-FFF2-40B4-BE49-F238E27FC236}">
                  <a16:creationId xmlns:a16="http://schemas.microsoft.com/office/drawing/2014/main" id="{FB512F8E-BC39-4A83-B67D-CC9F10238694}"/>
                </a:ext>
              </a:extLst>
            </p:cNvPr>
            <p:cNvSpPr>
              <a:spLocks noChangeArrowheads="1"/>
            </p:cNvSpPr>
            <p:nvPr/>
          </p:nvSpPr>
          <p:spPr bwMode="auto">
            <a:xfrm>
              <a:off x="2454275" y="752951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Rectangle 86">
              <a:extLst>
                <a:ext uri="{FF2B5EF4-FFF2-40B4-BE49-F238E27FC236}">
                  <a16:creationId xmlns:a16="http://schemas.microsoft.com/office/drawing/2014/main" id="{489C1BED-81C0-49FE-8C7A-52FC16E2A5C7}"/>
                </a:ext>
              </a:extLst>
            </p:cNvPr>
            <p:cNvSpPr>
              <a:spLocks noChangeArrowheads="1"/>
            </p:cNvSpPr>
            <p:nvPr/>
          </p:nvSpPr>
          <p:spPr bwMode="auto">
            <a:xfrm>
              <a:off x="2530475" y="752951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Rectangle 87">
              <a:extLst>
                <a:ext uri="{FF2B5EF4-FFF2-40B4-BE49-F238E27FC236}">
                  <a16:creationId xmlns:a16="http://schemas.microsoft.com/office/drawing/2014/main" id="{63CBF098-9628-412B-BB3B-5C5086B54D5F}"/>
                </a:ext>
              </a:extLst>
            </p:cNvPr>
            <p:cNvSpPr>
              <a:spLocks noChangeArrowheads="1"/>
            </p:cNvSpPr>
            <p:nvPr/>
          </p:nvSpPr>
          <p:spPr bwMode="auto">
            <a:xfrm>
              <a:off x="2416175" y="7529513"/>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Rectangle 88">
              <a:extLst>
                <a:ext uri="{FF2B5EF4-FFF2-40B4-BE49-F238E27FC236}">
                  <a16:creationId xmlns:a16="http://schemas.microsoft.com/office/drawing/2014/main" id="{108A6451-6F3E-42B9-A554-4D8FCEDD4B7A}"/>
                </a:ext>
              </a:extLst>
            </p:cNvPr>
            <p:cNvSpPr>
              <a:spLocks noChangeArrowheads="1"/>
            </p:cNvSpPr>
            <p:nvPr/>
          </p:nvSpPr>
          <p:spPr bwMode="auto">
            <a:xfrm>
              <a:off x="2492375" y="71929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Rectangle 89">
              <a:extLst>
                <a:ext uri="{FF2B5EF4-FFF2-40B4-BE49-F238E27FC236}">
                  <a16:creationId xmlns:a16="http://schemas.microsoft.com/office/drawing/2014/main" id="{A8EB975C-3E45-4EF9-BB00-F8EA1C5119DE}"/>
                </a:ext>
              </a:extLst>
            </p:cNvPr>
            <p:cNvSpPr>
              <a:spLocks noChangeArrowheads="1"/>
            </p:cNvSpPr>
            <p:nvPr/>
          </p:nvSpPr>
          <p:spPr bwMode="auto">
            <a:xfrm>
              <a:off x="2492375" y="71564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Rectangle 90">
              <a:extLst>
                <a:ext uri="{FF2B5EF4-FFF2-40B4-BE49-F238E27FC236}">
                  <a16:creationId xmlns:a16="http://schemas.microsoft.com/office/drawing/2014/main" id="{6FAF9843-8FC7-4D50-97C0-AC317349A7F5}"/>
                </a:ext>
              </a:extLst>
            </p:cNvPr>
            <p:cNvSpPr>
              <a:spLocks noChangeArrowheads="1"/>
            </p:cNvSpPr>
            <p:nvPr/>
          </p:nvSpPr>
          <p:spPr bwMode="auto">
            <a:xfrm>
              <a:off x="2530475" y="71929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3" name="Rectangle 91">
              <a:extLst>
                <a:ext uri="{FF2B5EF4-FFF2-40B4-BE49-F238E27FC236}">
                  <a16:creationId xmlns:a16="http://schemas.microsoft.com/office/drawing/2014/main" id="{2A174B43-7790-4C90-8104-2823F076E029}"/>
                </a:ext>
              </a:extLst>
            </p:cNvPr>
            <p:cNvSpPr>
              <a:spLocks noChangeArrowheads="1"/>
            </p:cNvSpPr>
            <p:nvPr/>
          </p:nvSpPr>
          <p:spPr bwMode="auto">
            <a:xfrm>
              <a:off x="2530475" y="71564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4" name="Rectangle 92">
              <a:extLst>
                <a:ext uri="{FF2B5EF4-FFF2-40B4-BE49-F238E27FC236}">
                  <a16:creationId xmlns:a16="http://schemas.microsoft.com/office/drawing/2014/main" id="{22A5FFF9-BDDF-4B91-9963-EAA199A1361C}"/>
                </a:ext>
              </a:extLst>
            </p:cNvPr>
            <p:cNvSpPr>
              <a:spLocks noChangeArrowheads="1"/>
            </p:cNvSpPr>
            <p:nvPr/>
          </p:nvSpPr>
          <p:spPr bwMode="auto">
            <a:xfrm>
              <a:off x="2454275" y="7192963"/>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5" name="Rectangle 93">
              <a:extLst>
                <a:ext uri="{FF2B5EF4-FFF2-40B4-BE49-F238E27FC236}">
                  <a16:creationId xmlns:a16="http://schemas.microsoft.com/office/drawing/2014/main" id="{FECB33AA-F096-4281-BBC5-A07320A72548}"/>
                </a:ext>
              </a:extLst>
            </p:cNvPr>
            <p:cNvSpPr>
              <a:spLocks noChangeArrowheads="1"/>
            </p:cNvSpPr>
            <p:nvPr/>
          </p:nvSpPr>
          <p:spPr bwMode="auto">
            <a:xfrm>
              <a:off x="2454275" y="7156450"/>
              <a:ext cx="23812"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Rectangle 94">
              <a:extLst>
                <a:ext uri="{FF2B5EF4-FFF2-40B4-BE49-F238E27FC236}">
                  <a16:creationId xmlns:a16="http://schemas.microsoft.com/office/drawing/2014/main" id="{CF3E725F-198F-456F-8A95-AAD6775A4451}"/>
                </a:ext>
              </a:extLst>
            </p:cNvPr>
            <p:cNvSpPr>
              <a:spLocks noChangeArrowheads="1"/>
            </p:cNvSpPr>
            <p:nvPr/>
          </p:nvSpPr>
          <p:spPr bwMode="auto">
            <a:xfrm>
              <a:off x="2416175" y="7156450"/>
              <a:ext cx="222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95">
              <a:extLst>
                <a:ext uri="{FF2B5EF4-FFF2-40B4-BE49-F238E27FC236}">
                  <a16:creationId xmlns:a16="http://schemas.microsoft.com/office/drawing/2014/main" id="{EBB18FA7-69E3-46C4-827C-ACB1E098B304}"/>
                </a:ext>
              </a:extLst>
            </p:cNvPr>
            <p:cNvSpPr>
              <a:spLocks noEditPoints="1"/>
            </p:cNvSpPr>
            <p:nvPr/>
          </p:nvSpPr>
          <p:spPr bwMode="auto">
            <a:xfrm>
              <a:off x="2174875" y="7256463"/>
              <a:ext cx="122237" cy="196850"/>
            </a:xfrm>
            <a:custGeom>
              <a:avLst/>
              <a:gdLst>
                <a:gd name="T0" fmla="*/ 69 w 74"/>
                <a:gd name="T1" fmla="*/ 117 h 117"/>
                <a:gd name="T2" fmla="*/ 5 w 74"/>
                <a:gd name="T3" fmla="*/ 117 h 117"/>
                <a:gd name="T4" fmla="*/ 15 w 74"/>
                <a:gd name="T5" fmla="*/ 66 h 117"/>
                <a:gd name="T6" fmla="*/ 11 w 74"/>
                <a:gd name="T7" fmla="*/ 63 h 117"/>
                <a:gd name="T8" fmla="*/ 0 w 74"/>
                <a:gd name="T9" fmla="*/ 37 h 117"/>
                <a:gd name="T10" fmla="*/ 37 w 74"/>
                <a:gd name="T11" fmla="*/ 0 h 117"/>
                <a:gd name="T12" fmla="*/ 74 w 74"/>
                <a:gd name="T13" fmla="*/ 37 h 117"/>
                <a:gd name="T14" fmla="*/ 63 w 74"/>
                <a:gd name="T15" fmla="*/ 63 h 117"/>
                <a:gd name="T16" fmla="*/ 62 w 74"/>
                <a:gd name="T17" fmla="*/ 64 h 117"/>
                <a:gd name="T18" fmla="*/ 60 w 74"/>
                <a:gd name="T19" fmla="*/ 66 h 117"/>
                <a:gd name="T20" fmla="*/ 69 w 74"/>
                <a:gd name="T21" fmla="*/ 117 h 117"/>
                <a:gd name="T22" fmla="*/ 22 w 74"/>
                <a:gd name="T23" fmla="*/ 103 h 117"/>
                <a:gd name="T24" fmla="*/ 52 w 74"/>
                <a:gd name="T25" fmla="*/ 103 h 117"/>
                <a:gd name="T26" fmla="*/ 44 w 74"/>
                <a:gd name="T27" fmla="*/ 59 h 117"/>
                <a:gd name="T28" fmla="*/ 54 w 74"/>
                <a:gd name="T29" fmla="*/ 53 h 117"/>
                <a:gd name="T30" fmla="*/ 60 w 74"/>
                <a:gd name="T31" fmla="*/ 37 h 117"/>
                <a:gd name="T32" fmla="*/ 37 w 74"/>
                <a:gd name="T33" fmla="*/ 14 h 117"/>
                <a:gd name="T34" fmla="*/ 14 w 74"/>
                <a:gd name="T35" fmla="*/ 37 h 117"/>
                <a:gd name="T36" fmla="*/ 21 w 74"/>
                <a:gd name="T37" fmla="*/ 53 h 117"/>
                <a:gd name="T38" fmla="*/ 30 w 74"/>
                <a:gd name="T39" fmla="*/ 59 h 117"/>
                <a:gd name="T40" fmla="*/ 22 w 74"/>
                <a:gd name="T41" fmla="*/ 10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 h="117">
                  <a:moveTo>
                    <a:pt x="69" y="117"/>
                  </a:moveTo>
                  <a:cubicBezTo>
                    <a:pt x="5" y="117"/>
                    <a:pt x="5" y="117"/>
                    <a:pt x="5" y="117"/>
                  </a:cubicBezTo>
                  <a:cubicBezTo>
                    <a:pt x="15" y="66"/>
                    <a:pt x="15" y="66"/>
                    <a:pt x="15" y="66"/>
                  </a:cubicBezTo>
                  <a:cubicBezTo>
                    <a:pt x="11" y="63"/>
                    <a:pt x="11" y="63"/>
                    <a:pt x="11" y="63"/>
                  </a:cubicBezTo>
                  <a:cubicBezTo>
                    <a:pt x="4" y="56"/>
                    <a:pt x="0" y="47"/>
                    <a:pt x="0" y="37"/>
                  </a:cubicBezTo>
                  <a:cubicBezTo>
                    <a:pt x="0" y="16"/>
                    <a:pt x="17" y="0"/>
                    <a:pt x="37" y="0"/>
                  </a:cubicBezTo>
                  <a:cubicBezTo>
                    <a:pt x="58" y="0"/>
                    <a:pt x="74" y="16"/>
                    <a:pt x="74" y="37"/>
                  </a:cubicBezTo>
                  <a:cubicBezTo>
                    <a:pt x="74" y="47"/>
                    <a:pt x="70" y="56"/>
                    <a:pt x="63" y="63"/>
                  </a:cubicBezTo>
                  <a:cubicBezTo>
                    <a:pt x="62" y="64"/>
                    <a:pt x="62" y="64"/>
                    <a:pt x="62" y="64"/>
                  </a:cubicBezTo>
                  <a:cubicBezTo>
                    <a:pt x="60" y="66"/>
                    <a:pt x="60" y="66"/>
                    <a:pt x="60" y="66"/>
                  </a:cubicBezTo>
                  <a:lnTo>
                    <a:pt x="69" y="117"/>
                  </a:lnTo>
                  <a:close/>
                  <a:moveTo>
                    <a:pt x="22" y="103"/>
                  </a:moveTo>
                  <a:cubicBezTo>
                    <a:pt x="52" y="103"/>
                    <a:pt x="52" y="103"/>
                    <a:pt x="52" y="103"/>
                  </a:cubicBezTo>
                  <a:cubicBezTo>
                    <a:pt x="44" y="59"/>
                    <a:pt x="44" y="59"/>
                    <a:pt x="44" y="59"/>
                  </a:cubicBezTo>
                  <a:cubicBezTo>
                    <a:pt x="54" y="53"/>
                    <a:pt x="54" y="53"/>
                    <a:pt x="54" y="53"/>
                  </a:cubicBezTo>
                  <a:cubicBezTo>
                    <a:pt x="58" y="48"/>
                    <a:pt x="60" y="43"/>
                    <a:pt x="60" y="37"/>
                  </a:cubicBezTo>
                  <a:cubicBezTo>
                    <a:pt x="60" y="24"/>
                    <a:pt x="50" y="14"/>
                    <a:pt x="37" y="14"/>
                  </a:cubicBezTo>
                  <a:cubicBezTo>
                    <a:pt x="25" y="14"/>
                    <a:pt x="14" y="24"/>
                    <a:pt x="14" y="37"/>
                  </a:cubicBezTo>
                  <a:cubicBezTo>
                    <a:pt x="14" y="43"/>
                    <a:pt x="17" y="48"/>
                    <a:pt x="21" y="53"/>
                  </a:cubicBezTo>
                  <a:cubicBezTo>
                    <a:pt x="30" y="59"/>
                    <a:pt x="30" y="59"/>
                    <a:pt x="30" y="59"/>
                  </a:cubicBezTo>
                  <a:lnTo>
                    <a:pt x="2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7" name="Group 6">
            <a:extLst>
              <a:ext uri="{FF2B5EF4-FFF2-40B4-BE49-F238E27FC236}">
                <a16:creationId xmlns:a16="http://schemas.microsoft.com/office/drawing/2014/main" id="{DE766F06-EDE6-48D1-A468-1292A61371E6}"/>
              </a:ext>
            </a:extLst>
          </p:cNvPr>
          <p:cNvGrpSpPr/>
          <p:nvPr/>
        </p:nvGrpSpPr>
        <p:grpSpPr>
          <a:xfrm rot="3287716">
            <a:off x="4160663" y="2722120"/>
            <a:ext cx="1845472" cy="699297"/>
            <a:chOff x="959248" y="4094935"/>
            <a:chExt cx="1238497" cy="706953"/>
          </a:xfrm>
        </p:grpSpPr>
        <p:sp>
          <p:nvSpPr>
            <p:cNvPr id="270" name="Rectangle 269">
              <a:extLst>
                <a:ext uri="{FF2B5EF4-FFF2-40B4-BE49-F238E27FC236}">
                  <a16:creationId xmlns:a16="http://schemas.microsoft.com/office/drawing/2014/main" id="{CDBA9ED9-811C-457A-A816-21CF2E0D5602}"/>
                </a:ext>
              </a:extLst>
            </p:cNvPr>
            <p:cNvSpPr/>
            <p:nvPr/>
          </p:nvSpPr>
          <p:spPr>
            <a:xfrm>
              <a:off x="1080939" y="4301575"/>
              <a:ext cx="1112304" cy="46672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Leveraging</a:t>
              </a:r>
              <a:b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br>
              <a:r>
                <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Cloud </a:t>
              </a:r>
              <a:r>
                <a:rPr kumimoji="0" lang="en-US" altLang="ja-JP"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Computing</a:t>
              </a:r>
              <a:endParaRPr kumimoji="0" lang="en-US" sz="10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sp>
          <p:nvSpPr>
            <p:cNvPr id="271" name="Freeform 67">
              <a:extLst>
                <a:ext uri="{FF2B5EF4-FFF2-40B4-BE49-F238E27FC236}">
                  <a16:creationId xmlns:a16="http://schemas.microsoft.com/office/drawing/2014/main" id="{192FC3F2-CF44-491E-9B56-07AB876CCFB0}"/>
                </a:ext>
              </a:extLst>
            </p:cNvPr>
            <p:cNvSpPr>
              <a:spLocks/>
            </p:cNvSpPr>
            <p:nvPr/>
          </p:nvSpPr>
          <p:spPr bwMode="auto">
            <a:xfrm>
              <a:off x="959248" y="4094935"/>
              <a:ext cx="1238497" cy="706953"/>
            </a:xfrm>
            <a:custGeom>
              <a:avLst/>
              <a:gdLst>
                <a:gd name="T0" fmla="*/ 733 w 892"/>
                <a:gd name="T1" fmla="*/ 181 h 499"/>
                <a:gd name="T2" fmla="*/ 607 w 892"/>
                <a:gd name="T3" fmla="*/ 121 h 499"/>
                <a:gd name="T4" fmla="*/ 606 w 892"/>
                <a:gd name="T5" fmla="*/ 121 h 499"/>
                <a:gd name="T6" fmla="*/ 451 w 892"/>
                <a:gd name="T7" fmla="*/ 0 h 499"/>
                <a:gd name="T8" fmla="*/ 326 w 892"/>
                <a:gd name="T9" fmla="*/ 60 h 499"/>
                <a:gd name="T10" fmla="*/ 269 w 892"/>
                <a:gd name="T11" fmla="*/ 49 h 499"/>
                <a:gd name="T12" fmla="*/ 110 w 892"/>
                <a:gd name="T13" fmla="*/ 190 h 499"/>
                <a:gd name="T14" fmla="*/ 0 w 892"/>
                <a:gd name="T15" fmla="*/ 340 h 499"/>
                <a:gd name="T16" fmla="*/ 161 w 892"/>
                <a:gd name="T17" fmla="*/ 499 h 499"/>
                <a:gd name="T18" fmla="*/ 731 w 892"/>
                <a:gd name="T19" fmla="*/ 499 h 499"/>
                <a:gd name="T20" fmla="*/ 892 w 892"/>
                <a:gd name="T21" fmla="*/ 340 h 499"/>
                <a:gd name="T22" fmla="*/ 733 w 892"/>
                <a:gd name="T23" fmla="*/ 18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2" h="499">
                  <a:moveTo>
                    <a:pt x="733" y="181"/>
                  </a:moveTo>
                  <a:cubicBezTo>
                    <a:pt x="703" y="144"/>
                    <a:pt x="658" y="121"/>
                    <a:pt x="607" y="121"/>
                  </a:cubicBezTo>
                  <a:cubicBezTo>
                    <a:pt x="607" y="121"/>
                    <a:pt x="607" y="121"/>
                    <a:pt x="606" y="121"/>
                  </a:cubicBezTo>
                  <a:cubicBezTo>
                    <a:pt x="589" y="52"/>
                    <a:pt x="526" y="0"/>
                    <a:pt x="451" y="0"/>
                  </a:cubicBezTo>
                  <a:cubicBezTo>
                    <a:pt x="400" y="0"/>
                    <a:pt x="355" y="23"/>
                    <a:pt x="326" y="60"/>
                  </a:cubicBezTo>
                  <a:cubicBezTo>
                    <a:pt x="308" y="53"/>
                    <a:pt x="289" y="49"/>
                    <a:pt x="269" y="49"/>
                  </a:cubicBezTo>
                  <a:cubicBezTo>
                    <a:pt x="187" y="49"/>
                    <a:pt x="119" y="111"/>
                    <a:pt x="110" y="190"/>
                  </a:cubicBezTo>
                  <a:cubicBezTo>
                    <a:pt x="46" y="211"/>
                    <a:pt x="0" y="270"/>
                    <a:pt x="0" y="340"/>
                  </a:cubicBezTo>
                  <a:cubicBezTo>
                    <a:pt x="0" y="428"/>
                    <a:pt x="72" y="499"/>
                    <a:pt x="161" y="499"/>
                  </a:cubicBezTo>
                  <a:cubicBezTo>
                    <a:pt x="731" y="499"/>
                    <a:pt x="731" y="499"/>
                    <a:pt x="731" y="499"/>
                  </a:cubicBezTo>
                  <a:cubicBezTo>
                    <a:pt x="820" y="499"/>
                    <a:pt x="892" y="428"/>
                    <a:pt x="892" y="340"/>
                  </a:cubicBezTo>
                  <a:cubicBezTo>
                    <a:pt x="892" y="253"/>
                    <a:pt x="821" y="182"/>
                    <a:pt x="733" y="181"/>
                  </a:cubicBezTo>
                  <a:close/>
                </a:path>
              </a:pathLst>
            </a:cu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7"/>
                </a:solidFill>
                <a:effectLst/>
                <a:uLnTx/>
                <a:uFillTx/>
                <a:latin typeface="Segoe UI Semilight"/>
                <a:ea typeface="+mn-ea"/>
                <a:cs typeface="+mn-cs"/>
              </a:endParaRPr>
            </a:p>
          </p:txBody>
        </p:sp>
      </p:grpSp>
      <p:grpSp>
        <p:nvGrpSpPr>
          <p:cNvPr id="275" name="Group 274">
            <a:extLst>
              <a:ext uri="{FF2B5EF4-FFF2-40B4-BE49-F238E27FC236}">
                <a16:creationId xmlns:a16="http://schemas.microsoft.com/office/drawing/2014/main" id="{65EE6989-4AF8-4B5E-93CA-3CA65F21938B}"/>
              </a:ext>
            </a:extLst>
          </p:cNvPr>
          <p:cNvGrpSpPr/>
          <p:nvPr/>
        </p:nvGrpSpPr>
        <p:grpSpPr>
          <a:xfrm rot="21157630">
            <a:off x="10050126" y="1718285"/>
            <a:ext cx="711558" cy="562795"/>
            <a:chOff x="2329342" y="3137723"/>
            <a:chExt cx="710689" cy="486091"/>
          </a:xfrm>
        </p:grpSpPr>
        <p:sp>
          <p:nvSpPr>
            <p:cNvPr id="297" name="Rectangle 296">
              <a:extLst>
                <a:ext uri="{FF2B5EF4-FFF2-40B4-BE49-F238E27FC236}">
                  <a16:creationId xmlns:a16="http://schemas.microsoft.com/office/drawing/2014/main" id="{D74306E1-2DDD-45B2-AB56-19146F3701CE}"/>
                </a:ext>
              </a:extLst>
            </p:cNvPr>
            <p:cNvSpPr/>
            <p:nvPr/>
          </p:nvSpPr>
          <p:spPr>
            <a:xfrm>
              <a:off x="2329342" y="3331401"/>
              <a:ext cx="635502" cy="292413"/>
            </a:xfrm>
            <a:prstGeom prst="rect">
              <a:avLst/>
            </a:prstGeom>
          </p:spPr>
          <p:txBody>
            <a:bodyPr wrap="square" lIns="91440" tIns="91440" rIns="91440" bIns="9144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53535"/>
                  </a:solidFill>
                  <a:effectLst/>
                  <a:uLnTx/>
                  <a:uFillTx/>
                  <a:latin typeface="Segoe UI Semilight"/>
                  <a:ea typeface="+mn-ea"/>
                  <a:cs typeface="Segoe UI Semilight" panose="020B0402040204020203" pitchFamily="34" charset="0"/>
                </a:rPr>
                <a:t>Big data</a:t>
              </a:r>
            </a:p>
          </p:txBody>
        </p:sp>
        <p:grpSp>
          <p:nvGrpSpPr>
            <p:cNvPr id="298" name="Group 297">
              <a:extLst>
                <a:ext uri="{FF2B5EF4-FFF2-40B4-BE49-F238E27FC236}">
                  <a16:creationId xmlns:a16="http://schemas.microsoft.com/office/drawing/2014/main" id="{EE3B8B63-2855-49C9-9FED-B89FB7EECC15}"/>
                </a:ext>
              </a:extLst>
            </p:cNvPr>
            <p:cNvGrpSpPr/>
            <p:nvPr/>
          </p:nvGrpSpPr>
          <p:grpSpPr>
            <a:xfrm>
              <a:off x="2332006" y="3137723"/>
              <a:ext cx="708025" cy="212572"/>
              <a:chOff x="-241300" y="2492375"/>
              <a:chExt cx="708025" cy="577850"/>
            </a:xfrm>
          </p:grpSpPr>
          <p:sp>
            <p:nvSpPr>
              <p:cNvPr id="299" name="Line 5">
                <a:extLst>
                  <a:ext uri="{FF2B5EF4-FFF2-40B4-BE49-F238E27FC236}">
                    <a16:creationId xmlns:a16="http://schemas.microsoft.com/office/drawing/2014/main" id="{552E2F2C-51B4-4D3F-A2E9-D3C32FCCD2A5}"/>
                  </a:ext>
                </a:extLst>
              </p:cNvPr>
              <p:cNvSpPr>
                <a:spLocks noChangeShapeType="1"/>
              </p:cNvSpPr>
              <p:nvPr/>
            </p:nvSpPr>
            <p:spPr bwMode="auto">
              <a:xfrm>
                <a:off x="-55562" y="2492375"/>
                <a:ext cx="0" cy="157163"/>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0" name="Line 6">
                <a:extLst>
                  <a:ext uri="{FF2B5EF4-FFF2-40B4-BE49-F238E27FC236}">
                    <a16:creationId xmlns:a16="http://schemas.microsoft.com/office/drawing/2014/main" id="{DA045E6A-25C7-42E9-B205-DC9FFEE8F9BE}"/>
                  </a:ext>
                </a:extLst>
              </p:cNvPr>
              <p:cNvSpPr>
                <a:spLocks noChangeShapeType="1"/>
              </p:cNvSpPr>
              <p:nvPr/>
            </p:nvSpPr>
            <p:spPr bwMode="auto">
              <a:xfrm>
                <a:off x="204788" y="2492375"/>
                <a:ext cx="0" cy="15716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1" name="Line 7">
                <a:extLst>
                  <a:ext uri="{FF2B5EF4-FFF2-40B4-BE49-F238E27FC236}">
                    <a16:creationId xmlns:a16="http://schemas.microsoft.com/office/drawing/2014/main" id="{21A4DA41-3E9F-4BCF-8086-6A2DA52B4659}"/>
                  </a:ext>
                </a:extLst>
              </p:cNvPr>
              <p:cNvSpPr>
                <a:spLocks noChangeShapeType="1"/>
              </p:cNvSpPr>
              <p:nvPr/>
            </p:nvSpPr>
            <p:spPr bwMode="auto">
              <a:xfrm>
                <a:off x="280988" y="2492375"/>
                <a:ext cx="0" cy="157163"/>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2" name="Line 8">
                <a:extLst>
                  <a:ext uri="{FF2B5EF4-FFF2-40B4-BE49-F238E27FC236}">
                    <a16:creationId xmlns:a16="http://schemas.microsoft.com/office/drawing/2014/main" id="{88A35531-ADDA-4DD2-B7C8-6E7A9C321208}"/>
                  </a:ext>
                </a:extLst>
              </p:cNvPr>
              <p:cNvSpPr>
                <a:spLocks noChangeShapeType="1"/>
              </p:cNvSpPr>
              <p:nvPr/>
            </p:nvSpPr>
            <p:spPr bwMode="auto">
              <a:xfrm>
                <a:off x="117475" y="2706688"/>
                <a:ext cx="0" cy="15716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3" name="Line 9">
                <a:extLst>
                  <a:ext uri="{FF2B5EF4-FFF2-40B4-BE49-F238E27FC236}">
                    <a16:creationId xmlns:a16="http://schemas.microsoft.com/office/drawing/2014/main" id="{7638BD44-1025-48E3-9804-5D657B67B2DD}"/>
                  </a:ext>
                </a:extLst>
              </p:cNvPr>
              <p:cNvSpPr>
                <a:spLocks noChangeShapeType="1"/>
              </p:cNvSpPr>
              <p:nvPr/>
            </p:nvSpPr>
            <p:spPr bwMode="auto">
              <a:xfrm>
                <a:off x="192088" y="2706688"/>
                <a:ext cx="0" cy="15716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4" name="Line 10">
                <a:extLst>
                  <a:ext uri="{FF2B5EF4-FFF2-40B4-BE49-F238E27FC236}">
                    <a16:creationId xmlns:a16="http://schemas.microsoft.com/office/drawing/2014/main" id="{39017DDF-DA0A-40FA-A9E6-F335B13D2CB8}"/>
                  </a:ext>
                </a:extLst>
              </p:cNvPr>
              <p:cNvSpPr>
                <a:spLocks noChangeShapeType="1"/>
              </p:cNvSpPr>
              <p:nvPr/>
            </p:nvSpPr>
            <p:spPr bwMode="auto">
              <a:xfrm>
                <a:off x="444500" y="2706688"/>
                <a:ext cx="0" cy="15716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5" name="Line 11">
                <a:extLst>
                  <a:ext uri="{FF2B5EF4-FFF2-40B4-BE49-F238E27FC236}">
                    <a16:creationId xmlns:a16="http://schemas.microsoft.com/office/drawing/2014/main" id="{C0FEE157-5E60-4545-B775-E620E62A3022}"/>
                  </a:ext>
                </a:extLst>
              </p:cNvPr>
              <p:cNvSpPr>
                <a:spLocks noChangeShapeType="1"/>
              </p:cNvSpPr>
              <p:nvPr/>
            </p:nvSpPr>
            <p:spPr bwMode="auto">
              <a:xfrm>
                <a:off x="-214312" y="2911475"/>
                <a:ext cx="0" cy="15875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6" name="Line 12">
                <a:extLst>
                  <a:ext uri="{FF2B5EF4-FFF2-40B4-BE49-F238E27FC236}">
                    <a16:creationId xmlns:a16="http://schemas.microsoft.com/office/drawing/2014/main" id="{0C22825A-92B2-4571-8CD9-1A1EF090C76E}"/>
                  </a:ext>
                </a:extLst>
              </p:cNvPr>
              <p:cNvSpPr>
                <a:spLocks noChangeShapeType="1"/>
              </p:cNvSpPr>
              <p:nvPr/>
            </p:nvSpPr>
            <p:spPr bwMode="auto">
              <a:xfrm>
                <a:off x="36513" y="2911475"/>
                <a:ext cx="0" cy="15875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7" name="Line 13">
                <a:extLst>
                  <a:ext uri="{FF2B5EF4-FFF2-40B4-BE49-F238E27FC236}">
                    <a16:creationId xmlns:a16="http://schemas.microsoft.com/office/drawing/2014/main" id="{41374D9D-D472-4388-B176-12F4386FA1D2}"/>
                  </a:ext>
                </a:extLst>
              </p:cNvPr>
              <p:cNvSpPr>
                <a:spLocks noChangeShapeType="1"/>
              </p:cNvSpPr>
              <p:nvPr/>
            </p:nvSpPr>
            <p:spPr bwMode="auto">
              <a:xfrm>
                <a:off x="285750" y="2911475"/>
                <a:ext cx="0" cy="15875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8" name="Oval 14">
                <a:extLst>
                  <a:ext uri="{FF2B5EF4-FFF2-40B4-BE49-F238E27FC236}">
                    <a16:creationId xmlns:a16="http://schemas.microsoft.com/office/drawing/2014/main" id="{16F59417-326B-4C58-840F-799D7FF2095A}"/>
                  </a:ext>
                </a:extLst>
              </p:cNvPr>
              <p:cNvSpPr>
                <a:spLocks noChangeArrowheads="1"/>
              </p:cNvSpPr>
              <p:nvPr/>
            </p:nvSpPr>
            <p:spPr bwMode="auto">
              <a:xfrm>
                <a:off x="-241300" y="2500313"/>
                <a:ext cx="107949" cy="142876"/>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9" name="Oval 15">
                <a:extLst>
                  <a:ext uri="{FF2B5EF4-FFF2-40B4-BE49-F238E27FC236}">
                    <a16:creationId xmlns:a16="http://schemas.microsoft.com/office/drawing/2014/main" id="{173A50B9-E1E2-49CD-896C-C9262F379931}"/>
                  </a:ext>
                </a:extLst>
              </p:cNvPr>
              <p:cNvSpPr>
                <a:spLocks noChangeArrowheads="1"/>
              </p:cNvSpPr>
              <p:nvPr/>
            </p:nvSpPr>
            <p:spPr bwMode="auto">
              <a:xfrm>
                <a:off x="-241300" y="2714626"/>
                <a:ext cx="107949" cy="141289"/>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0" name="Oval 16">
                <a:extLst>
                  <a:ext uri="{FF2B5EF4-FFF2-40B4-BE49-F238E27FC236}">
                    <a16:creationId xmlns:a16="http://schemas.microsoft.com/office/drawing/2014/main" id="{4710F107-EBC7-4F03-ACF7-27AAA7FD0D83}"/>
                  </a:ext>
                </a:extLst>
              </p:cNvPr>
              <p:cNvSpPr>
                <a:spLocks noChangeArrowheads="1"/>
              </p:cNvSpPr>
              <p:nvPr/>
            </p:nvSpPr>
            <p:spPr bwMode="auto">
              <a:xfrm>
                <a:off x="-142876" y="2919414"/>
                <a:ext cx="107949" cy="142876"/>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1" name="Oval 17">
                <a:extLst>
                  <a:ext uri="{FF2B5EF4-FFF2-40B4-BE49-F238E27FC236}">
                    <a16:creationId xmlns:a16="http://schemas.microsoft.com/office/drawing/2014/main" id="{563ABE2E-B379-487B-AD71-F0E37E41C372}"/>
                  </a:ext>
                </a:extLst>
              </p:cNvPr>
              <p:cNvSpPr>
                <a:spLocks noChangeArrowheads="1"/>
              </p:cNvSpPr>
              <p:nvPr/>
            </p:nvSpPr>
            <p:spPr bwMode="auto">
              <a:xfrm>
                <a:off x="106363" y="2919414"/>
                <a:ext cx="107949" cy="142876"/>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2" name="Oval 18">
                <a:extLst>
                  <a:ext uri="{FF2B5EF4-FFF2-40B4-BE49-F238E27FC236}">
                    <a16:creationId xmlns:a16="http://schemas.microsoft.com/office/drawing/2014/main" id="{E44A0EBD-BE48-477D-91DC-B7AD09953836}"/>
                  </a:ext>
                </a:extLst>
              </p:cNvPr>
              <p:cNvSpPr>
                <a:spLocks noChangeArrowheads="1"/>
              </p:cNvSpPr>
              <p:nvPr/>
            </p:nvSpPr>
            <p:spPr bwMode="auto">
              <a:xfrm>
                <a:off x="358776" y="2919414"/>
                <a:ext cx="107949" cy="142876"/>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3" name="Oval 19">
                <a:extLst>
                  <a:ext uri="{FF2B5EF4-FFF2-40B4-BE49-F238E27FC236}">
                    <a16:creationId xmlns:a16="http://schemas.microsoft.com/office/drawing/2014/main" id="{9F13CA08-290E-4F48-AD5A-6DC502E9A455}"/>
                  </a:ext>
                </a:extLst>
              </p:cNvPr>
              <p:cNvSpPr>
                <a:spLocks noChangeArrowheads="1"/>
              </p:cNvSpPr>
              <p:nvPr/>
            </p:nvSpPr>
            <p:spPr bwMode="auto">
              <a:xfrm>
                <a:off x="-61911" y="2714626"/>
                <a:ext cx="109538" cy="141289"/>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4" name="Oval 20">
                <a:extLst>
                  <a:ext uri="{FF2B5EF4-FFF2-40B4-BE49-F238E27FC236}">
                    <a16:creationId xmlns:a16="http://schemas.microsoft.com/office/drawing/2014/main" id="{4AC8411A-779C-4E70-960D-2813548D8698}"/>
                  </a:ext>
                </a:extLst>
              </p:cNvPr>
              <p:cNvSpPr>
                <a:spLocks noChangeArrowheads="1"/>
              </p:cNvSpPr>
              <p:nvPr/>
            </p:nvSpPr>
            <p:spPr bwMode="auto">
              <a:xfrm>
                <a:off x="265113" y="2714626"/>
                <a:ext cx="107949" cy="141289"/>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5" name="Oval 21">
                <a:extLst>
                  <a:ext uri="{FF2B5EF4-FFF2-40B4-BE49-F238E27FC236}">
                    <a16:creationId xmlns:a16="http://schemas.microsoft.com/office/drawing/2014/main" id="{283F8246-B47C-4723-88AF-2C447E616661}"/>
                  </a:ext>
                </a:extLst>
              </p:cNvPr>
              <p:cNvSpPr>
                <a:spLocks noChangeArrowheads="1"/>
              </p:cNvSpPr>
              <p:nvPr/>
            </p:nvSpPr>
            <p:spPr bwMode="auto">
              <a:xfrm>
                <a:off x="20638" y="2500313"/>
                <a:ext cx="107949" cy="142876"/>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6" name="Oval 22">
                <a:extLst>
                  <a:ext uri="{FF2B5EF4-FFF2-40B4-BE49-F238E27FC236}">
                    <a16:creationId xmlns:a16="http://schemas.microsoft.com/office/drawing/2014/main" id="{49ADBF86-314A-4FF7-A8E7-7013C6681484}"/>
                  </a:ext>
                </a:extLst>
              </p:cNvPr>
              <p:cNvSpPr>
                <a:spLocks noChangeArrowheads="1"/>
              </p:cNvSpPr>
              <p:nvPr/>
            </p:nvSpPr>
            <p:spPr bwMode="auto">
              <a:xfrm>
                <a:off x="358776" y="2500313"/>
                <a:ext cx="107949" cy="142876"/>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76" name="Group 275">
            <a:extLst>
              <a:ext uri="{FF2B5EF4-FFF2-40B4-BE49-F238E27FC236}">
                <a16:creationId xmlns:a16="http://schemas.microsoft.com/office/drawing/2014/main" id="{BE6F32F5-4211-4587-829A-F99D4FAD486B}"/>
              </a:ext>
            </a:extLst>
          </p:cNvPr>
          <p:cNvGrpSpPr/>
          <p:nvPr/>
        </p:nvGrpSpPr>
        <p:grpSpPr>
          <a:xfrm rot="21157630">
            <a:off x="8855900" y="1821627"/>
            <a:ext cx="507719" cy="626638"/>
            <a:chOff x="1491692" y="3345288"/>
            <a:chExt cx="438524" cy="541234"/>
          </a:xfrm>
        </p:grpSpPr>
        <p:sp>
          <p:nvSpPr>
            <p:cNvPr id="286" name="Rectangle 285">
              <a:extLst>
                <a:ext uri="{FF2B5EF4-FFF2-40B4-BE49-F238E27FC236}">
                  <a16:creationId xmlns:a16="http://schemas.microsoft.com/office/drawing/2014/main" id="{62AC296D-3A76-416E-A6EB-DDD8DD124D80}"/>
                </a:ext>
              </a:extLst>
            </p:cNvPr>
            <p:cNvSpPr/>
            <p:nvPr/>
          </p:nvSpPr>
          <p:spPr>
            <a:xfrm>
              <a:off x="1491692" y="3594109"/>
              <a:ext cx="351625" cy="292413"/>
            </a:xfrm>
            <a:prstGeom prst="rect">
              <a:avLst/>
            </a:prstGeom>
          </p:spPr>
          <p:txBody>
            <a:bodyPr wrap="square" lIns="91440" tIns="91440" rIns="91440" bIns="9144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53535"/>
                  </a:solidFill>
                  <a:effectLst/>
                  <a:uLnTx/>
                  <a:uFillTx/>
                  <a:latin typeface="Segoe UI Semilight"/>
                  <a:ea typeface="+mn-ea"/>
                  <a:cs typeface="Segoe UI Semilight" panose="020B0402040204020203" pitchFamily="34" charset="0"/>
                </a:rPr>
                <a:t>AI</a:t>
              </a:r>
            </a:p>
          </p:txBody>
        </p:sp>
        <p:grpSp>
          <p:nvGrpSpPr>
            <p:cNvPr id="287" name="Group 286">
              <a:extLst>
                <a:ext uri="{FF2B5EF4-FFF2-40B4-BE49-F238E27FC236}">
                  <a16:creationId xmlns:a16="http://schemas.microsoft.com/office/drawing/2014/main" id="{F2E30DA9-A68E-4D38-B2FC-2CCF30780CF5}"/>
                </a:ext>
              </a:extLst>
            </p:cNvPr>
            <p:cNvGrpSpPr/>
            <p:nvPr/>
          </p:nvGrpSpPr>
          <p:grpSpPr>
            <a:xfrm>
              <a:off x="1567207" y="3345288"/>
              <a:ext cx="363009" cy="367009"/>
              <a:chOff x="1601788" y="7545388"/>
              <a:chExt cx="431800" cy="436563"/>
            </a:xfrm>
            <a:solidFill>
              <a:schemeClr val="accent1"/>
            </a:solidFill>
          </p:grpSpPr>
          <p:sp>
            <p:nvSpPr>
              <p:cNvPr id="288" name="Freeform 26">
                <a:extLst>
                  <a:ext uri="{FF2B5EF4-FFF2-40B4-BE49-F238E27FC236}">
                    <a16:creationId xmlns:a16="http://schemas.microsoft.com/office/drawing/2014/main" id="{A3117C80-A900-452D-8279-7B20B992B927}"/>
                  </a:ext>
                </a:extLst>
              </p:cNvPr>
              <p:cNvSpPr>
                <a:spLocks noEditPoints="1"/>
              </p:cNvSpPr>
              <p:nvPr/>
            </p:nvSpPr>
            <p:spPr bwMode="auto">
              <a:xfrm>
                <a:off x="1754188" y="7621588"/>
                <a:ext cx="88900" cy="176213"/>
              </a:xfrm>
              <a:custGeom>
                <a:avLst/>
                <a:gdLst>
                  <a:gd name="T0" fmla="*/ 63 w 87"/>
                  <a:gd name="T1" fmla="*/ 0 h 172"/>
                  <a:gd name="T2" fmla="*/ 39 w 87"/>
                  <a:gd name="T3" fmla="*/ 24 h 172"/>
                  <a:gd name="T4" fmla="*/ 56 w 87"/>
                  <a:gd name="T5" fmla="*/ 47 h 172"/>
                  <a:gd name="T6" fmla="*/ 56 w 87"/>
                  <a:gd name="T7" fmla="*/ 108 h 172"/>
                  <a:gd name="T8" fmla="*/ 37 w 87"/>
                  <a:gd name="T9" fmla="*/ 127 h 172"/>
                  <a:gd name="T10" fmla="*/ 24 w 87"/>
                  <a:gd name="T11" fmla="*/ 123 h 172"/>
                  <a:gd name="T12" fmla="*/ 0 w 87"/>
                  <a:gd name="T13" fmla="*/ 148 h 172"/>
                  <a:gd name="T14" fmla="*/ 24 w 87"/>
                  <a:gd name="T15" fmla="*/ 172 h 172"/>
                  <a:gd name="T16" fmla="*/ 48 w 87"/>
                  <a:gd name="T17" fmla="*/ 148 h 172"/>
                  <a:gd name="T18" fmla="*/ 46 w 87"/>
                  <a:gd name="T19" fmla="*/ 138 h 172"/>
                  <a:gd name="T20" fmla="*/ 70 w 87"/>
                  <a:gd name="T21" fmla="*/ 114 h 172"/>
                  <a:gd name="T22" fmla="*/ 70 w 87"/>
                  <a:gd name="T23" fmla="*/ 47 h 172"/>
                  <a:gd name="T24" fmla="*/ 87 w 87"/>
                  <a:gd name="T25" fmla="*/ 24 h 172"/>
                  <a:gd name="T26" fmla="*/ 63 w 87"/>
                  <a:gd name="T27" fmla="*/ 0 h 172"/>
                  <a:gd name="T28" fmla="*/ 24 w 87"/>
                  <a:gd name="T29" fmla="*/ 158 h 172"/>
                  <a:gd name="T30" fmla="*/ 14 w 87"/>
                  <a:gd name="T31" fmla="*/ 148 h 172"/>
                  <a:gd name="T32" fmla="*/ 24 w 87"/>
                  <a:gd name="T33" fmla="*/ 137 h 172"/>
                  <a:gd name="T34" fmla="*/ 34 w 87"/>
                  <a:gd name="T35" fmla="*/ 148 h 172"/>
                  <a:gd name="T36" fmla="*/ 24 w 87"/>
                  <a:gd name="T37" fmla="*/ 158 h 172"/>
                  <a:gd name="T38" fmla="*/ 63 w 87"/>
                  <a:gd name="T39" fmla="*/ 34 h 172"/>
                  <a:gd name="T40" fmla="*/ 53 w 87"/>
                  <a:gd name="T41" fmla="*/ 24 h 172"/>
                  <a:gd name="T42" fmla="*/ 63 w 87"/>
                  <a:gd name="T43" fmla="*/ 14 h 172"/>
                  <a:gd name="T44" fmla="*/ 73 w 87"/>
                  <a:gd name="T45" fmla="*/ 24 h 172"/>
                  <a:gd name="T46" fmla="*/ 63 w 87"/>
                  <a:gd name="T47" fmla="*/ 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172">
                    <a:moveTo>
                      <a:pt x="63" y="0"/>
                    </a:moveTo>
                    <a:cubicBezTo>
                      <a:pt x="50" y="0"/>
                      <a:pt x="39" y="11"/>
                      <a:pt x="39" y="24"/>
                    </a:cubicBezTo>
                    <a:cubicBezTo>
                      <a:pt x="39" y="35"/>
                      <a:pt x="46" y="44"/>
                      <a:pt x="56" y="47"/>
                    </a:cubicBezTo>
                    <a:cubicBezTo>
                      <a:pt x="56" y="108"/>
                      <a:pt x="56" y="108"/>
                      <a:pt x="56" y="108"/>
                    </a:cubicBezTo>
                    <a:cubicBezTo>
                      <a:pt x="37" y="127"/>
                      <a:pt x="37" y="127"/>
                      <a:pt x="37" y="127"/>
                    </a:cubicBezTo>
                    <a:cubicBezTo>
                      <a:pt x="33" y="125"/>
                      <a:pt x="29" y="123"/>
                      <a:pt x="24" y="123"/>
                    </a:cubicBezTo>
                    <a:cubicBezTo>
                      <a:pt x="11" y="123"/>
                      <a:pt x="0" y="134"/>
                      <a:pt x="0" y="148"/>
                    </a:cubicBezTo>
                    <a:cubicBezTo>
                      <a:pt x="0" y="161"/>
                      <a:pt x="11" y="172"/>
                      <a:pt x="24" y="172"/>
                    </a:cubicBezTo>
                    <a:cubicBezTo>
                      <a:pt x="37" y="172"/>
                      <a:pt x="48" y="161"/>
                      <a:pt x="48" y="148"/>
                    </a:cubicBezTo>
                    <a:cubicBezTo>
                      <a:pt x="48" y="144"/>
                      <a:pt x="47" y="141"/>
                      <a:pt x="46" y="138"/>
                    </a:cubicBezTo>
                    <a:cubicBezTo>
                      <a:pt x="70" y="114"/>
                      <a:pt x="70" y="114"/>
                      <a:pt x="70" y="114"/>
                    </a:cubicBezTo>
                    <a:cubicBezTo>
                      <a:pt x="70" y="47"/>
                      <a:pt x="70" y="47"/>
                      <a:pt x="70" y="47"/>
                    </a:cubicBezTo>
                    <a:cubicBezTo>
                      <a:pt x="80" y="44"/>
                      <a:pt x="87" y="35"/>
                      <a:pt x="87" y="24"/>
                    </a:cubicBezTo>
                    <a:cubicBezTo>
                      <a:pt x="87" y="11"/>
                      <a:pt x="76" y="0"/>
                      <a:pt x="63" y="0"/>
                    </a:cubicBezTo>
                    <a:close/>
                    <a:moveTo>
                      <a:pt x="24" y="158"/>
                    </a:moveTo>
                    <a:cubicBezTo>
                      <a:pt x="19" y="158"/>
                      <a:pt x="14" y="153"/>
                      <a:pt x="14" y="148"/>
                    </a:cubicBezTo>
                    <a:cubicBezTo>
                      <a:pt x="14" y="142"/>
                      <a:pt x="19" y="137"/>
                      <a:pt x="24" y="137"/>
                    </a:cubicBezTo>
                    <a:cubicBezTo>
                      <a:pt x="30" y="137"/>
                      <a:pt x="34" y="142"/>
                      <a:pt x="34" y="148"/>
                    </a:cubicBezTo>
                    <a:cubicBezTo>
                      <a:pt x="34" y="153"/>
                      <a:pt x="30" y="158"/>
                      <a:pt x="24" y="158"/>
                    </a:cubicBezTo>
                    <a:close/>
                    <a:moveTo>
                      <a:pt x="63" y="34"/>
                    </a:moveTo>
                    <a:cubicBezTo>
                      <a:pt x="57" y="34"/>
                      <a:pt x="53" y="30"/>
                      <a:pt x="53" y="24"/>
                    </a:cubicBezTo>
                    <a:cubicBezTo>
                      <a:pt x="53" y="19"/>
                      <a:pt x="57" y="14"/>
                      <a:pt x="63" y="14"/>
                    </a:cubicBezTo>
                    <a:cubicBezTo>
                      <a:pt x="68" y="14"/>
                      <a:pt x="73" y="19"/>
                      <a:pt x="73" y="24"/>
                    </a:cubicBezTo>
                    <a:cubicBezTo>
                      <a:pt x="73" y="30"/>
                      <a:pt x="68" y="34"/>
                      <a:pt x="63" y="34"/>
                    </a:cubicBezTo>
                    <a:close/>
                  </a:path>
                </a:pathLst>
              </a:custGeom>
              <a:grpFill/>
              <a:ln w="9525">
                <a:solidFill>
                  <a:schemeClr val="tx1"/>
                </a:solid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9" name="Freeform 27">
                <a:extLst>
                  <a:ext uri="{FF2B5EF4-FFF2-40B4-BE49-F238E27FC236}">
                    <a16:creationId xmlns:a16="http://schemas.microsoft.com/office/drawing/2014/main" id="{7E6751C0-4776-4B4B-9C9E-16E284C68972}"/>
                  </a:ext>
                </a:extLst>
              </p:cNvPr>
              <p:cNvSpPr>
                <a:spLocks noEditPoints="1"/>
              </p:cNvSpPr>
              <p:nvPr/>
            </p:nvSpPr>
            <p:spPr bwMode="auto">
              <a:xfrm>
                <a:off x="1909763" y="7783513"/>
                <a:ext cx="53975" cy="168275"/>
              </a:xfrm>
              <a:custGeom>
                <a:avLst/>
                <a:gdLst>
                  <a:gd name="T0" fmla="*/ 33 w 52"/>
                  <a:gd name="T1" fmla="*/ 113 h 164"/>
                  <a:gd name="T2" fmla="*/ 33 w 52"/>
                  <a:gd name="T3" fmla="*/ 47 h 164"/>
                  <a:gd name="T4" fmla="*/ 50 w 52"/>
                  <a:gd name="T5" fmla="*/ 24 h 164"/>
                  <a:gd name="T6" fmla="*/ 26 w 52"/>
                  <a:gd name="T7" fmla="*/ 0 h 164"/>
                  <a:gd name="T8" fmla="*/ 2 w 52"/>
                  <a:gd name="T9" fmla="*/ 24 h 164"/>
                  <a:gd name="T10" fmla="*/ 19 w 52"/>
                  <a:gd name="T11" fmla="*/ 47 h 164"/>
                  <a:gd name="T12" fmla="*/ 19 w 52"/>
                  <a:gd name="T13" fmla="*/ 113 h 164"/>
                  <a:gd name="T14" fmla="*/ 0 w 52"/>
                  <a:gd name="T15" fmla="*/ 138 h 164"/>
                  <a:gd name="T16" fmla="*/ 26 w 52"/>
                  <a:gd name="T17" fmla="*/ 164 h 164"/>
                  <a:gd name="T18" fmla="*/ 52 w 52"/>
                  <a:gd name="T19" fmla="*/ 138 h 164"/>
                  <a:gd name="T20" fmla="*/ 33 w 52"/>
                  <a:gd name="T21" fmla="*/ 113 h 164"/>
                  <a:gd name="T22" fmla="*/ 16 w 52"/>
                  <a:gd name="T23" fmla="*/ 24 h 164"/>
                  <a:gd name="T24" fmla="*/ 26 w 52"/>
                  <a:gd name="T25" fmla="*/ 14 h 164"/>
                  <a:gd name="T26" fmla="*/ 36 w 52"/>
                  <a:gd name="T27" fmla="*/ 24 h 164"/>
                  <a:gd name="T28" fmla="*/ 26 w 52"/>
                  <a:gd name="T29" fmla="*/ 34 h 164"/>
                  <a:gd name="T30" fmla="*/ 16 w 52"/>
                  <a:gd name="T31" fmla="*/ 24 h 164"/>
                  <a:gd name="T32" fmla="*/ 26 w 52"/>
                  <a:gd name="T33" fmla="*/ 150 h 164"/>
                  <a:gd name="T34" fmla="*/ 14 w 52"/>
                  <a:gd name="T35" fmla="*/ 138 h 164"/>
                  <a:gd name="T36" fmla="*/ 26 w 52"/>
                  <a:gd name="T37" fmla="*/ 126 h 164"/>
                  <a:gd name="T38" fmla="*/ 38 w 52"/>
                  <a:gd name="T39" fmla="*/ 138 h 164"/>
                  <a:gd name="T40" fmla="*/ 26 w 52"/>
                  <a:gd name="T41"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164">
                    <a:moveTo>
                      <a:pt x="33" y="113"/>
                    </a:moveTo>
                    <a:cubicBezTo>
                      <a:pt x="33" y="47"/>
                      <a:pt x="33" y="47"/>
                      <a:pt x="33" y="47"/>
                    </a:cubicBezTo>
                    <a:cubicBezTo>
                      <a:pt x="43" y="44"/>
                      <a:pt x="50" y="35"/>
                      <a:pt x="50" y="24"/>
                    </a:cubicBezTo>
                    <a:cubicBezTo>
                      <a:pt x="50" y="11"/>
                      <a:pt x="39" y="0"/>
                      <a:pt x="26" y="0"/>
                    </a:cubicBezTo>
                    <a:cubicBezTo>
                      <a:pt x="13" y="0"/>
                      <a:pt x="2" y="11"/>
                      <a:pt x="2" y="24"/>
                    </a:cubicBezTo>
                    <a:cubicBezTo>
                      <a:pt x="2" y="35"/>
                      <a:pt x="9" y="44"/>
                      <a:pt x="19" y="47"/>
                    </a:cubicBezTo>
                    <a:cubicBezTo>
                      <a:pt x="19" y="113"/>
                      <a:pt x="19" y="113"/>
                      <a:pt x="19" y="113"/>
                    </a:cubicBezTo>
                    <a:cubicBezTo>
                      <a:pt x="8" y="116"/>
                      <a:pt x="0" y="126"/>
                      <a:pt x="0" y="138"/>
                    </a:cubicBezTo>
                    <a:cubicBezTo>
                      <a:pt x="0" y="152"/>
                      <a:pt x="12" y="164"/>
                      <a:pt x="26" y="164"/>
                    </a:cubicBezTo>
                    <a:cubicBezTo>
                      <a:pt x="40" y="164"/>
                      <a:pt x="52" y="152"/>
                      <a:pt x="52" y="138"/>
                    </a:cubicBezTo>
                    <a:cubicBezTo>
                      <a:pt x="52" y="126"/>
                      <a:pt x="44" y="116"/>
                      <a:pt x="33" y="113"/>
                    </a:cubicBezTo>
                    <a:close/>
                    <a:moveTo>
                      <a:pt x="16" y="24"/>
                    </a:moveTo>
                    <a:cubicBezTo>
                      <a:pt x="16" y="19"/>
                      <a:pt x="21" y="14"/>
                      <a:pt x="26" y="14"/>
                    </a:cubicBezTo>
                    <a:cubicBezTo>
                      <a:pt x="32" y="14"/>
                      <a:pt x="36" y="19"/>
                      <a:pt x="36" y="24"/>
                    </a:cubicBezTo>
                    <a:cubicBezTo>
                      <a:pt x="36" y="30"/>
                      <a:pt x="32" y="34"/>
                      <a:pt x="26" y="34"/>
                    </a:cubicBezTo>
                    <a:cubicBezTo>
                      <a:pt x="21" y="34"/>
                      <a:pt x="16" y="30"/>
                      <a:pt x="16" y="24"/>
                    </a:cubicBezTo>
                    <a:close/>
                    <a:moveTo>
                      <a:pt x="26" y="150"/>
                    </a:moveTo>
                    <a:cubicBezTo>
                      <a:pt x="20" y="150"/>
                      <a:pt x="14" y="145"/>
                      <a:pt x="14" y="138"/>
                    </a:cubicBezTo>
                    <a:cubicBezTo>
                      <a:pt x="14" y="132"/>
                      <a:pt x="20" y="126"/>
                      <a:pt x="26" y="126"/>
                    </a:cubicBezTo>
                    <a:cubicBezTo>
                      <a:pt x="33" y="126"/>
                      <a:pt x="38" y="132"/>
                      <a:pt x="38" y="138"/>
                    </a:cubicBezTo>
                    <a:cubicBezTo>
                      <a:pt x="38" y="145"/>
                      <a:pt x="33" y="150"/>
                      <a:pt x="26" y="150"/>
                    </a:cubicBezTo>
                    <a:close/>
                  </a:path>
                </a:pathLst>
              </a:custGeom>
              <a:grpFill/>
              <a:ln w="9525">
                <a:solidFill>
                  <a:schemeClr val="tx1"/>
                </a:solid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0" name="Freeform 28">
                <a:extLst>
                  <a:ext uri="{FF2B5EF4-FFF2-40B4-BE49-F238E27FC236}">
                    <a16:creationId xmlns:a16="http://schemas.microsoft.com/office/drawing/2014/main" id="{65A7488F-2008-45E5-AA40-1858800B912D}"/>
                  </a:ext>
                </a:extLst>
              </p:cNvPr>
              <p:cNvSpPr>
                <a:spLocks noEditPoints="1"/>
              </p:cNvSpPr>
              <p:nvPr/>
            </p:nvSpPr>
            <p:spPr bwMode="auto">
              <a:xfrm>
                <a:off x="1849438" y="7789863"/>
                <a:ext cx="55563" cy="192088"/>
              </a:xfrm>
              <a:custGeom>
                <a:avLst/>
                <a:gdLst>
                  <a:gd name="T0" fmla="*/ 34 w 54"/>
                  <a:gd name="T1" fmla="*/ 137 h 187"/>
                  <a:gd name="T2" fmla="*/ 34 w 54"/>
                  <a:gd name="T3" fmla="*/ 51 h 187"/>
                  <a:gd name="T4" fmla="*/ 44 w 54"/>
                  <a:gd name="T5" fmla="*/ 45 h 187"/>
                  <a:gd name="T6" fmla="*/ 44 w 54"/>
                  <a:gd name="T7" fmla="*/ 10 h 187"/>
                  <a:gd name="T8" fmla="*/ 10 w 54"/>
                  <a:gd name="T9" fmla="*/ 10 h 187"/>
                  <a:gd name="T10" fmla="*/ 10 w 54"/>
                  <a:gd name="T11" fmla="*/ 45 h 187"/>
                  <a:gd name="T12" fmla="*/ 20 w 54"/>
                  <a:gd name="T13" fmla="*/ 51 h 187"/>
                  <a:gd name="T14" fmla="*/ 20 w 54"/>
                  <a:gd name="T15" fmla="*/ 137 h 187"/>
                  <a:gd name="T16" fmla="*/ 1 w 54"/>
                  <a:gd name="T17" fmla="*/ 161 h 187"/>
                  <a:gd name="T18" fmla="*/ 27 w 54"/>
                  <a:gd name="T19" fmla="*/ 187 h 187"/>
                  <a:gd name="T20" fmla="*/ 53 w 54"/>
                  <a:gd name="T21" fmla="*/ 161 h 187"/>
                  <a:gd name="T22" fmla="*/ 34 w 54"/>
                  <a:gd name="T23" fmla="*/ 137 h 187"/>
                  <a:gd name="T24" fmla="*/ 20 w 54"/>
                  <a:gd name="T25" fmla="*/ 20 h 187"/>
                  <a:gd name="T26" fmla="*/ 27 w 54"/>
                  <a:gd name="T27" fmla="*/ 17 h 187"/>
                  <a:gd name="T28" fmla="*/ 34 w 54"/>
                  <a:gd name="T29" fmla="*/ 20 h 187"/>
                  <a:gd name="T30" fmla="*/ 34 w 54"/>
                  <a:gd name="T31" fmla="*/ 35 h 187"/>
                  <a:gd name="T32" fmla="*/ 20 w 54"/>
                  <a:gd name="T33" fmla="*/ 35 h 187"/>
                  <a:gd name="T34" fmla="*/ 20 w 54"/>
                  <a:gd name="T35" fmla="*/ 20 h 187"/>
                  <a:gd name="T36" fmla="*/ 27 w 54"/>
                  <a:gd name="T37" fmla="*/ 173 h 187"/>
                  <a:gd name="T38" fmla="*/ 15 w 54"/>
                  <a:gd name="T39" fmla="*/ 161 h 187"/>
                  <a:gd name="T40" fmla="*/ 27 w 54"/>
                  <a:gd name="T41" fmla="*/ 150 h 187"/>
                  <a:gd name="T42" fmla="*/ 39 w 54"/>
                  <a:gd name="T43" fmla="*/ 161 h 187"/>
                  <a:gd name="T44" fmla="*/ 27 w 54"/>
                  <a:gd name="T45" fmla="*/ 17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187">
                    <a:moveTo>
                      <a:pt x="34" y="137"/>
                    </a:moveTo>
                    <a:cubicBezTo>
                      <a:pt x="34" y="51"/>
                      <a:pt x="34" y="51"/>
                      <a:pt x="34" y="51"/>
                    </a:cubicBezTo>
                    <a:cubicBezTo>
                      <a:pt x="38" y="50"/>
                      <a:pt x="41" y="48"/>
                      <a:pt x="44" y="45"/>
                    </a:cubicBezTo>
                    <a:cubicBezTo>
                      <a:pt x="54" y="35"/>
                      <a:pt x="54" y="20"/>
                      <a:pt x="44" y="10"/>
                    </a:cubicBezTo>
                    <a:cubicBezTo>
                      <a:pt x="35" y="0"/>
                      <a:pt x="19" y="0"/>
                      <a:pt x="10" y="10"/>
                    </a:cubicBezTo>
                    <a:cubicBezTo>
                      <a:pt x="0" y="20"/>
                      <a:pt x="0" y="35"/>
                      <a:pt x="10" y="45"/>
                    </a:cubicBezTo>
                    <a:cubicBezTo>
                      <a:pt x="13" y="48"/>
                      <a:pt x="16" y="50"/>
                      <a:pt x="20" y="51"/>
                    </a:cubicBezTo>
                    <a:cubicBezTo>
                      <a:pt x="20" y="137"/>
                      <a:pt x="20" y="137"/>
                      <a:pt x="20" y="137"/>
                    </a:cubicBezTo>
                    <a:cubicBezTo>
                      <a:pt x="9" y="140"/>
                      <a:pt x="1" y="150"/>
                      <a:pt x="1" y="161"/>
                    </a:cubicBezTo>
                    <a:cubicBezTo>
                      <a:pt x="1" y="175"/>
                      <a:pt x="13" y="187"/>
                      <a:pt x="27" y="187"/>
                    </a:cubicBezTo>
                    <a:cubicBezTo>
                      <a:pt x="41" y="187"/>
                      <a:pt x="53" y="175"/>
                      <a:pt x="53" y="161"/>
                    </a:cubicBezTo>
                    <a:cubicBezTo>
                      <a:pt x="53" y="150"/>
                      <a:pt x="45" y="140"/>
                      <a:pt x="34" y="137"/>
                    </a:cubicBezTo>
                    <a:close/>
                    <a:moveTo>
                      <a:pt x="20" y="20"/>
                    </a:moveTo>
                    <a:cubicBezTo>
                      <a:pt x="22" y="18"/>
                      <a:pt x="24" y="17"/>
                      <a:pt x="27" y="17"/>
                    </a:cubicBezTo>
                    <a:cubicBezTo>
                      <a:pt x="30" y="17"/>
                      <a:pt x="32" y="18"/>
                      <a:pt x="34" y="20"/>
                    </a:cubicBezTo>
                    <a:cubicBezTo>
                      <a:pt x="39" y="24"/>
                      <a:pt x="39" y="31"/>
                      <a:pt x="34" y="35"/>
                    </a:cubicBezTo>
                    <a:cubicBezTo>
                      <a:pt x="30" y="39"/>
                      <a:pt x="24" y="39"/>
                      <a:pt x="20" y="35"/>
                    </a:cubicBezTo>
                    <a:cubicBezTo>
                      <a:pt x="15" y="31"/>
                      <a:pt x="15" y="24"/>
                      <a:pt x="20" y="20"/>
                    </a:cubicBezTo>
                    <a:close/>
                    <a:moveTo>
                      <a:pt x="27" y="173"/>
                    </a:moveTo>
                    <a:cubicBezTo>
                      <a:pt x="21" y="173"/>
                      <a:pt x="15" y="168"/>
                      <a:pt x="15" y="161"/>
                    </a:cubicBezTo>
                    <a:cubicBezTo>
                      <a:pt x="15" y="155"/>
                      <a:pt x="21" y="150"/>
                      <a:pt x="27" y="150"/>
                    </a:cubicBezTo>
                    <a:cubicBezTo>
                      <a:pt x="33" y="150"/>
                      <a:pt x="39" y="155"/>
                      <a:pt x="39" y="161"/>
                    </a:cubicBezTo>
                    <a:cubicBezTo>
                      <a:pt x="39" y="168"/>
                      <a:pt x="33" y="173"/>
                      <a:pt x="27" y="173"/>
                    </a:cubicBezTo>
                    <a:close/>
                  </a:path>
                </a:pathLst>
              </a:custGeom>
              <a:grpFill/>
              <a:ln w="9525">
                <a:solidFill>
                  <a:schemeClr val="tx1"/>
                </a:solid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1" name="Freeform 29">
                <a:extLst>
                  <a:ext uri="{FF2B5EF4-FFF2-40B4-BE49-F238E27FC236}">
                    <a16:creationId xmlns:a16="http://schemas.microsoft.com/office/drawing/2014/main" id="{91C1960E-F881-4827-BD20-CA771D2F9DD9}"/>
                  </a:ext>
                </a:extLst>
              </p:cNvPr>
              <p:cNvSpPr>
                <a:spLocks noEditPoints="1"/>
              </p:cNvSpPr>
              <p:nvPr/>
            </p:nvSpPr>
            <p:spPr bwMode="auto">
              <a:xfrm>
                <a:off x="1911350" y="7669213"/>
                <a:ext cx="122238" cy="187325"/>
              </a:xfrm>
              <a:custGeom>
                <a:avLst/>
                <a:gdLst>
                  <a:gd name="T0" fmla="*/ 102 w 120"/>
                  <a:gd name="T1" fmla="*/ 111 h 182"/>
                  <a:gd name="T2" fmla="*/ 120 w 120"/>
                  <a:gd name="T3" fmla="*/ 88 h 182"/>
                  <a:gd name="T4" fmla="*/ 95 w 120"/>
                  <a:gd name="T5" fmla="*/ 64 h 182"/>
                  <a:gd name="T6" fmla="*/ 81 w 120"/>
                  <a:gd name="T7" fmla="*/ 69 h 182"/>
                  <a:gd name="T8" fmla="*/ 49 w 120"/>
                  <a:gd name="T9" fmla="*/ 37 h 182"/>
                  <a:gd name="T10" fmla="*/ 51 w 120"/>
                  <a:gd name="T11" fmla="*/ 26 h 182"/>
                  <a:gd name="T12" fmla="*/ 26 w 120"/>
                  <a:gd name="T13" fmla="*/ 0 h 182"/>
                  <a:gd name="T14" fmla="*/ 0 w 120"/>
                  <a:gd name="T15" fmla="*/ 26 h 182"/>
                  <a:gd name="T16" fmla="*/ 26 w 120"/>
                  <a:gd name="T17" fmla="*/ 52 h 182"/>
                  <a:gd name="T18" fmla="*/ 40 w 120"/>
                  <a:gd name="T19" fmla="*/ 47 h 182"/>
                  <a:gd name="T20" fmla="*/ 73 w 120"/>
                  <a:gd name="T21" fmla="*/ 80 h 182"/>
                  <a:gd name="T22" fmla="*/ 71 w 120"/>
                  <a:gd name="T23" fmla="*/ 88 h 182"/>
                  <a:gd name="T24" fmla="*/ 88 w 120"/>
                  <a:gd name="T25" fmla="*/ 111 h 182"/>
                  <a:gd name="T26" fmla="*/ 88 w 120"/>
                  <a:gd name="T27" fmla="*/ 134 h 182"/>
                  <a:gd name="T28" fmla="*/ 88 w 120"/>
                  <a:gd name="T29" fmla="*/ 135 h 182"/>
                  <a:gd name="T30" fmla="*/ 71 w 120"/>
                  <a:gd name="T31" fmla="*/ 158 h 182"/>
                  <a:gd name="T32" fmla="*/ 95 w 120"/>
                  <a:gd name="T33" fmla="*/ 182 h 182"/>
                  <a:gd name="T34" fmla="*/ 120 w 120"/>
                  <a:gd name="T35" fmla="*/ 158 h 182"/>
                  <a:gd name="T36" fmla="*/ 102 w 120"/>
                  <a:gd name="T37" fmla="*/ 135 h 182"/>
                  <a:gd name="T38" fmla="*/ 102 w 120"/>
                  <a:gd name="T39" fmla="*/ 134 h 182"/>
                  <a:gd name="T40" fmla="*/ 102 w 120"/>
                  <a:gd name="T41" fmla="*/ 111 h 182"/>
                  <a:gd name="T42" fmla="*/ 14 w 120"/>
                  <a:gd name="T43" fmla="*/ 26 h 182"/>
                  <a:gd name="T44" fmla="*/ 26 w 120"/>
                  <a:gd name="T45" fmla="*/ 14 h 182"/>
                  <a:gd name="T46" fmla="*/ 37 w 120"/>
                  <a:gd name="T47" fmla="*/ 26 h 182"/>
                  <a:gd name="T48" fmla="*/ 26 w 120"/>
                  <a:gd name="T49" fmla="*/ 38 h 182"/>
                  <a:gd name="T50" fmla="*/ 14 w 120"/>
                  <a:gd name="T51" fmla="*/ 26 h 182"/>
                  <a:gd name="T52" fmla="*/ 85 w 120"/>
                  <a:gd name="T53" fmla="*/ 88 h 182"/>
                  <a:gd name="T54" fmla="*/ 95 w 120"/>
                  <a:gd name="T55" fmla="*/ 78 h 182"/>
                  <a:gd name="T56" fmla="*/ 106 w 120"/>
                  <a:gd name="T57" fmla="*/ 88 h 182"/>
                  <a:gd name="T58" fmla="*/ 95 w 120"/>
                  <a:gd name="T59" fmla="*/ 98 h 182"/>
                  <a:gd name="T60" fmla="*/ 85 w 120"/>
                  <a:gd name="T61" fmla="*/ 88 h 182"/>
                  <a:gd name="T62" fmla="*/ 106 w 120"/>
                  <a:gd name="T63" fmla="*/ 158 h 182"/>
                  <a:gd name="T64" fmla="*/ 95 w 120"/>
                  <a:gd name="T65" fmla="*/ 168 h 182"/>
                  <a:gd name="T66" fmla="*/ 85 w 120"/>
                  <a:gd name="T67" fmla="*/ 158 h 182"/>
                  <a:gd name="T68" fmla="*/ 95 w 120"/>
                  <a:gd name="T69" fmla="*/ 148 h 182"/>
                  <a:gd name="T70" fmla="*/ 106 w 120"/>
                  <a:gd name="T71" fmla="*/ 15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2">
                    <a:moveTo>
                      <a:pt x="102" y="111"/>
                    </a:moveTo>
                    <a:cubicBezTo>
                      <a:pt x="112" y="108"/>
                      <a:pt x="120" y="99"/>
                      <a:pt x="120" y="88"/>
                    </a:cubicBezTo>
                    <a:cubicBezTo>
                      <a:pt x="120" y="75"/>
                      <a:pt x="109" y="64"/>
                      <a:pt x="95" y="64"/>
                    </a:cubicBezTo>
                    <a:cubicBezTo>
                      <a:pt x="90" y="64"/>
                      <a:pt x="85" y="66"/>
                      <a:pt x="81" y="69"/>
                    </a:cubicBezTo>
                    <a:cubicBezTo>
                      <a:pt x="49" y="37"/>
                      <a:pt x="49" y="37"/>
                      <a:pt x="49" y="37"/>
                    </a:cubicBezTo>
                    <a:cubicBezTo>
                      <a:pt x="50" y="33"/>
                      <a:pt x="51" y="30"/>
                      <a:pt x="51" y="26"/>
                    </a:cubicBezTo>
                    <a:cubicBezTo>
                      <a:pt x="51" y="12"/>
                      <a:pt x="40" y="0"/>
                      <a:pt x="26" y="0"/>
                    </a:cubicBezTo>
                    <a:cubicBezTo>
                      <a:pt x="11" y="0"/>
                      <a:pt x="0" y="12"/>
                      <a:pt x="0" y="26"/>
                    </a:cubicBezTo>
                    <a:cubicBezTo>
                      <a:pt x="0" y="40"/>
                      <a:pt x="11" y="52"/>
                      <a:pt x="26" y="52"/>
                    </a:cubicBezTo>
                    <a:cubicBezTo>
                      <a:pt x="31" y="52"/>
                      <a:pt x="36" y="50"/>
                      <a:pt x="40" y="47"/>
                    </a:cubicBezTo>
                    <a:cubicBezTo>
                      <a:pt x="73" y="80"/>
                      <a:pt x="73" y="80"/>
                      <a:pt x="73" y="80"/>
                    </a:cubicBezTo>
                    <a:cubicBezTo>
                      <a:pt x="72" y="83"/>
                      <a:pt x="71" y="85"/>
                      <a:pt x="71" y="88"/>
                    </a:cubicBezTo>
                    <a:cubicBezTo>
                      <a:pt x="71" y="99"/>
                      <a:pt x="79" y="108"/>
                      <a:pt x="88" y="111"/>
                    </a:cubicBezTo>
                    <a:cubicBezTo>
                      <a:pt x="88" y="134"/>
                      <a:pt x="88" y="134"/>
                      <a:pt x="88" y="134"/>
                    </a:cubicBezTo>
                    <a:cubicBezTo>
                      <a:pt x="88" y="134"/>
                      <a:pt x="88" y="134"/>
                      <a:pt x="88" y="135"/>
                    </a:cubicBezTo>
                    <a:cubicBezTo>
                      <a:pt x="79" y="138"/>
                      <a:pt x="71" y="147"/>
                      <a:pt x="71" y="158"/>
                    </a:cubicBezTo>
                    <a:cubicBezTo>
                      <a:pt x="71" y="171"/>
                      <a:pt x="82" y="182"/>
                      <a:pt x="95" y="182"/>
                    </a:cubicBezTo>
                    <a:cubicBezTo>
                      <a:pt x="109" y="182"/>
                      <a:pt x="120" y="171"/>
                      <a:pt x="120" y="158"/>
                    </a:cubicBezTo>
                    <a:cubicBezTo>
                      <a:pt x="120" y="147"/>
                      <a:pt x="112" y="138"/>
                      <a:pt x="102" y="135"/>
                    </a:cubicBezTo>
                    <a:cubicBezTo>
                      <a:pt x="102" y="134"/>
                      <a:pt x="102" y="134"/>
                      <a:pt x="102" y="134"/>
                    </a:cubicBezTo>
                    <a:lnTo>
                      <a:pt x="102" y="111"/>
                    </a:lnTo>
                    <a:close/>
                    <a:moveTo>
                      <a:pt x="14" y="26"/>
                    </a:moveTo>
                    <a:cubicBezTo>
                      <a:pt x="14" y="20"/>
                      <a:pt x="19" y="14"/>
                      <a:pt x="26" y="14"/>
                    </a:cubicBezTo>
                    <a:cubicBezTo>
                      <a:pt x="32" y="14"/>
                      <a:pt x="37" y="20"/>
                      <a:pt x="37" y="26"/>
                    </a:cubicBezTo>
                    <a:cubicBezTo>
                      <a:pt x="37" y="32"/>
                      <a:pt x="32" y="38"/>
                      <a:pt x="26" y="38"/>
                    </a:cubicBezTo>
                    <a:cubicBezTo>
                      <a:pt x="19" y="38"/>
                      <a:pt x="14" y="32"/>
                      <a:pt x="14" y="26"/>
                    </a:cubicBezTo>
                    <a:close/>
                    <a:moveTo>
                      <a:pt x="85" y="88"/>
                    </a:moveTo>
                    <a:cubicBezTo>
                      <a:pt x="85" y="83"/>
                      <a:pt x="90" y="78"/>
                      <a:pt x="95" y="78"/>
                    </a:cubicBezTo>
                    <a:cubicBezTo>
                      <a:pt x="101" y="78"/>
                      <a:pt x="106" y="83"/>
                      <a:pt x="106" y="88"/>
                    </a:cubicBezTo>
                    <a:cubicBezTo>
                      <a:pt x="106" y="94"/>
                      <a:pt x="101" y="98"/>
                      <a:pt x="95" y="98"/>
                    </a:cubicBezTo>
                    <a:cubicBezTo>
                      <a:pt x="90" y="98"/>
                      <a:pt x="85" y="94"/>
                      <a:pt x="85" y="88"/>
                    </a:cubicBezTo>
                    <a:close/>
                    <a:moveTo>
                      <a:pt x="106" y="158"/>
                    </a:moveTo>
                    <a:cubicBezTo>
                      <a:pt x="106" y="163"/>
                      <a:pt x="101" y="168"/>
                      <a:pt x="95" y="168"/>
                    </a:cubicBezTo>
                    <a:cubicBezTo>
                      <a:pt x="90" y="168"/>
                      <a:pt x="85" y="163"/>
                      <a:pt x="85" y="158"/>
                    </a:cubicBezTo>
                    <a:cubicBezTo>
                      <a:pt x="85" y="152"/>
                      <a:pt x="90" y="148"/>
                      <a:pt x="95" y="148"/>
                    </a:cubicBezTo>
                    <a:cubicBezTo>
                      <a:pt x="101" y="148"/>
                      <a:pt x="106" y="152"/>
                      <a:pt x="106" y="158"/>
                    </a:cubicBezTo>
                    <a:close/>
                  </a:path>
                </a:pathLst>
              </a:custGeom>
              <a:grpFill/>
              <a:ln w="9525">
                <a:solidFill>
                  <a:schemeClr val="tx1"/>
                </a:solid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2" name="Freeform 30">
                <a:extLst>
                  <a:ext uri="{FF2B5EF4-FFF2-40B4-BE49-F238E27FC236}">
                    <a16:creationId xmlns:a16="http://schemas.microsoft.com/office/drawing/2014/main" id="{B8D9FCD4-E284-478C-ACCD-96C87081B61A}"/>
                  </a:ext>
                </a:extLst>
              </p:cNvPr>
              <p:cNvSpPr>
                <a:spLocks noEditPoints="1"/>
              </p:cNvSpPr>
              <p:nvPr/>
            </p:nvSpPr>
            <p:spPr bwMode="auto">
              <a:xfrm>
                <a:off x="1601788" y="7685088"/>
                <a:ext cx="171450" cy="52388"/>
              </a:xfrm>
              <a:custGeom>
                <a:avLst/>
                <a:gdLst>
                  <a:gd name="T0" fmla="*/ 51 w 169"/>
                  <a:gd name="T1" fmla="*/ 33 h 51"/>
                  <a:gd name="T2" fmla="*/ 122 w 169"/>
                  <a:gd name="T3" fmla="*/ 33 h 51"/>
                  <a:gd name="T4" fmla="*/ 145 w 169"/>
                  <a:gd name="T5" fmla="*/ 50 h 51"/>
                  <a:gd name="T6" fmla="*/ 169 w 169"/>
                  <a:gd name="T7" fmla="*/ 26 h 51"/>
                  <a:gd name="T8" fmla="*/ 145 w 169"/>
                  <a:gd name="T9" fmla="*/ 2 h 51"/>
                  <a:gd name="T10" fmla="*/ 122 w 169"/>
                  <a:gd name="T11" fmla="*/ 19 h 51"/>
                  <a:gd name="T12" fmla="*/ 51 w 169"/>
                  <a:gd name="T13" fmla="*/ 19 h 51"/>
                  <a:gd name="T14" fmla="*/ 26 w 169"/>
                  <a:gd name="T15" fmla="*/ 0 h 51"/>
                  <a:gd name="T16" fmla="*/ 0 w 169"/>
                  <a:gd name="T17" fmla="*/ 26 h 51"/>
                  <a:gd name="T18" fmla="*/ 26 w 169"/>
                  <a:gd name="T19" fmla="*/ 51 h 51"/>
                  <a:gd name="T20" fmla="*/ 51 w 169"/>
                  <a:gd name="T21" fmla="*/ 33 h 51"/>
                  <a:gd name="T22" fmla="*/ 145 w 169"/>
                  <a:gd name="T23" fmla="*/ 16 h 51"/>
                  <a:gd name="T24" fmla="*/ 155 w 169"/>
                  <a:gd name="T25" fmla="*/ 26 h 51"/>
                  <a:gd name="T26" fmla="*/ 145 w 169"/>
                  <a:gd name="T27" fmla="*/ 36 h 51"/>
                  <a:gd name="T28" fmla="*/ 135 w 169"/>
                  <a:gd name="T29" fmla="*/ 26 h 51"/>
                  <a:gd name="T30" fmla="*/ 145 w 169"/>
                  <a:gd name="T31" fmla="*/ 16 h 51"/>
                  <a:gd name="T32" fmla="*/ 26 w 169"/>
                  <a:gd name="T33" fmla="*/ 37 h 51"/>
                  <a:gd name="T34" fmla="*/ 14 w 169"/>
                  <a:gd name="T35" fmla="*/ 26 h 51"/>
                  <a:gd name="T36" fmla="*/ 26 w 169"/>
                  <a:gd name="T37" fmla="*/ 14 h 51"/>
                  <a:gd name="T38" fmla="*/ 38 w 169"/>
                  <a:gd name="T39" fmla="*/ 26 h 51"/>
                  <a:gd name="T40" fmla="*/ 26 w 169"/>
                  <a:gd name="T41"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51">
                    <a:moveTo>
                      <a:pt x="51" y="33"/>
                    </a:moveTo>
                    <a:cubicBezTo>
                      <a:pt x="122" y="33"/>
                      <a:pt x="122" y="33"/>
                      <a:pt x="122" y="33"/>
                    </a:cubicBezTo>
                    <a:cubicBezTo>
                      <a:pt x="125" y="43"/>
                      <a:pt x="134" y="50"/>
                      <a:pt x="145" y="50"/>
                    </a:cubicBezTo>
                    <a:cubicBezTo>
                      <a:pt x="158" y="50"/>
                      <a:pt x="169" y="39"/>
                      <a:pt x="169" y="26"/>
                    </a:cubicBezTo>
                    <a:cubicBezTo>
                      <a:pt x="169" y="12"/>
                      <a:pt x="158" y="2"/>
                      <a:pt x="145" y="2"/>
                    </a:cubicBezTo>
                    <a:cubicBezTo>
                      <a:pt x="134" y="2"/>
                      <a:pt x="125" y="9"/>
                      <a:pt x="122" y="19"/>
                    </a:cubicBezTo>
                    <a:cubicBezTo>
                      <a:pt x="51" y="19"/>
                      <a:pt x="51" y="19"/>
                      <a:pt x="51" y="19"/>
                    </a:cubicBezTo>
                    <a:cubicBezTo>
                      <a:pt x="47" y="8"/>
                      <a:pt x="38" y="0"/>
                      <a:pt x="26" y="0"/>
                    </a:cubicBezTo>
                    <a:cubicBezTo>
                      <a:pt x="12" y="0"/>
                      <a:pt x="0" y="11"/>
                      <a:pt x="0" y="26"/>
                    </a:cubicBezTo>
                    <a:cubicBezTo>
                      <a:pt x="0" y="40"/>
                      <a:pt x="12" y="51"/>
                      <a:pt x="26" y="51"/>
                    </a:cubicBezTo>
                    <a:cubicBezTo>
                      <a:pt x="38" y="51"/>
                      <a:pt x="47" y="43"/>
                      <a:pt x="51" y="33"/>
                    </a:cubicBezTo>
                    <a:close/>
                    <a:moveTo>
                      <a:pt x="145" y="16"/>
                    </a:moveTo>
                    <a:cubicBezTo>
                      <a:pt x="150" y="16"/>
                      <a:pt x="155" y="20"/>
                      <a:pt x="155" y="26"/>
                    </a:cubicBezTo>
                    <a:cubicBezTo>
                      <a:pt x="155" y="31"/>
                      <a:pt x="150" y="36"/>
                      <a:pt x="145" y="36"/>
                    </a:cubicBezTo>
                    <a:cubicBezTo>
                      <a:pt x="139" y="36"/>
                      <a:pt x="135" y="31"/>
                      <a:pt x="135" y="26"/>
                    </a:cubicBezTo>
                    <a:cubicBezTo>
                      <a:pt x="135" y="20"/>
                      <a:pt x="139" y="16"/>
                      <a:pt x="145" y="16"/>
                    </a:cubicBezTo>
                    <a:close/>
                    <a:moveTo>
                      <a:pt x="26" y="37"/>
                    </a:moveTo>
                    <a:cubicBezTo>
                      <a:pt x="19" y="37"/>
                      <a:pt x="14" y="32"/>
                      <a:pt x="14" y="26"/>
                    </a:cubicBezTo>
                    <a:cubicBezTo>
                      <a:pt x="14" y="19"/>
                      <a:pt x="19" y="14"/>
                      <a:pt x="26" y="14"/>
                    </a:cubicBezTo>
                    <a:cubicBezTo>
                      <a:pt x="32" y="14"/>
                      <a:pt x="38" y="19"/>
                      <a:pt x="38" y="26"/>
                    </a:cubicBezTo>
                    <a:cubicBezTo>
                      <a:pt x="38" y="32"/>
                      <a:pt x="32" y="37"/>
                      <a:pt x="26" y="37"/>
                    </a:cubicBezTo>
                    <a:close/>
                  </a:path>
                </a:pathLst>
              </a:custGeom>
              <a:grpFill/>
              <a:ln w="9525">
                <a:solidFill>
                  <a:schemeClr val="tx1"/>
                </a:solid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3" name="Freeform 31">
                <a:extLst>
                  <a:ext uri="{FF2B5EF4-FFF2-40B4-BE49-F238E27FC236}">
                    <a16:creationId xmlns:a16="http://schemas.microsoft.com/office/drawing/2014/main" id="{2FEF9536-EFA7-4364-ACC0-BEDED6193FB6}"/>
                  </a:ext>
                </a:extLst>
              </p:cNvPr>
              <p:cNvSpPr>
                <a:spLocks noEditPoints="1"/>
              </p:cNvSpPr>
              <p:nvPr/>
            </p:nvSpPr>
            <p:spPr bwMode="auto">
              <a:xfrm>
                <a:off x="1617663" y="7575551"/>
                <a:ext cx="149225" cy="82550"/>
              </a:xfrm>
              <a:custGeom>
                <a:avLst/>
                <a:gdLst>
                  <a:gd name="T0" fmla="*/ 27 w 147"/>
                  <a:gd name="T1" fmla="*/ 80 h 80"/>
                  <a:gd name="T2" fmla="*/ 44 w 147"/>
                  <a:gd name="T3" fmla="*/ 73 h 80"/>
                  <a:gd name="T4" fmla="*/ 48 w 147"/>
                  <a:gd name="T5" fmla="*/ 45 h 80"/>
                  <a:gd name="T6" fmla="*/ 76 w 147"/>
                  <a:gd name="T7" fmla="*/ 14 h 80"/>
                  <a:gd name="T8" fmla="*/ 86 w 147"/>
                  <a:gd name="T9" fmla="*/ 14 h 80"/>
                  <a:gd name="T10" fmla="*/ 98 w 147"/>
                  <a:gd name="T11" fmla="*/ 27 h 80"/>
                  <a:gd name="T12" fmla="*/ 103 w 147"/>
                  <a:gd name="T13" fmla="*/ 54 h 80"/>
                  <a:gd name="T14" fmla="*/ 120 w 147"/>
                  <a:gd name="T15" fmla="*/ 61 h 80"/>
                  <a:gd name="T16" fmla="*/ 137 w 147"/>
                  <a:gd name="T17" fmla="*/ 54 h 80"/>
                  <a:gd name="T18" fmla="*/ 137 w 147"/>
                  <a:gd name="T19" fmla="*/ 20 h 80"/>
                  <a:gd name="T20" fmla="*/ 137 w 147"/>
                  <a:gd name="T21" fmla="*/ 20 h 80"/>
                  <a:gd name="T22" fmla="*/ 108 w 147"/>
                  <a:gd name="T23" fmla="*/ 16 h 80"/>
                  <a:gd name="T24" fmla="*/ 92 w 147"/>
                  <a:gd name="T25" fmla="*/ 0 h 80"/>
                  <a:gd name="T26" fmla="*/ 69 w 147"/>
                  <a:gd name="T27" fmla="*/ 0 h 80"/>
                  <a:gd name="T28" fmla="*/ 38 w 147"/>
                  <a:gd name="T29" fmla="*/ 35 h 80"/>
                  <a:gd name="T30" fmla="*/ 10 w 147"/>
                  <a:gd name="T31" fmla="*/ 39 h 80"/>
                  <a:gd name="T32" fmla="*/ 10 w 147"/>
                  <a:gd name="T33" fmla="*/ 73 h 80"/>
                  <a:gd name="T34" fmla="*/ 27 w 147"/>
                  <a:gd name="T35" fmla="*/ 80 h 80"/>
                  <a:gd name="T36" fmla="*/ 127 w 147"/>
                  <a:gd name="T37" fmla="*/ 30 h 80"/>
                  <a:gd name="T38" fmla="*/ 127 w 147"/>
                  <a:gd name="T39" fmla="*/ 44 h 80"/>
                  <a:gd name="T40" fmla="*/ 113 w 147"/>
                  <a:gd name="T41" fmla="*/ 44 h 80"/>
                  <a:gd name="T42" fmla="*/ 111 w 147"/>
                  <a:gd name="T43" fmla="*/ 32 h 80"/>
                  <a:gd name="T44" fmla="*/ 113 w 147"/>
                  <a:gd name="T45" fmla="*/ 31 h 80"/>
                  <a:gd name="T46" fmla="*/ 114 w 147"/>
                  <a:gd name="T47" fmla="*/ 28 h 80"/>
                  <a:gd name="T48" fmla="*/ 120 w 147"/>
                  <a:gd name="T49" fmla="*/ 27 h 80"/>
                  <a:gd name="T50" fmla="*/ 127 w 147"/>
                  <a:gd name="T51" fmla="*/ 30 h 80"/>
                  <a:gd name="T52" fmla="*/ 20 w 147"/>
                  <a:gd name="T53" fmla="*/ 49 h 80"/>
                  <a:gd name="T54" fmla="*/ 27 w 147"/>
                  <a:gd name="T55" fmla="*/ 46 h 80"/>
                  <a:gd name="T56" fmla="*/ 34 w 147"/>
                  <a:gd name="T57" fmla="*/ 49 h 80"/>
                  <a:gd name="T58" fmla="*/ 34 w 147"/>
                  <a:gd name="T59" fmla="*/ 63 h 80"/>
                  <a:gd name="T60" fmla="*/ 20 w 147"/>
                  <a:gd name="T61" fmla="*/ 63 h 80"/>
                  <a:gd name="T62" fmla="*/ 20 w 147"/>
                  <a:gd name="T63"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7" h="80">
                    <a:moveTo>
                      <a:pt x="27" y="80"/>
                    </a:moveTo>
                    <a:cubicBezTo>
                      <a:pt x="33" y="80"/>
                      <a:pt x="39" y="78"/>
                      <a:pt x="44" y="73"/>
                    </a:cubicBezTo>
                    <a:cubicBezTo>
                      <a:pt x="51" y="65"/>
                      <a:pt x="53" y="54"/>
                      <a:pt x="48" y="45"/>
                    </a:cubicBezTo>
                    <a:cubicBezTo>
                      <a:pt x="76" y="14"/>
                      <a:pt x="76" y="14"/>
                      <a:pt x="76" y="14"/>
                    </a:cubicBezTo>
                    <a:cubicBezTo>
                      <a:pt x="86" y="14"/>
                      <a:pt x="86" y="14"/>
                      <a:pt x="86" y="14"/>
                    </a:cubicBezTo>
                    <a:cubicBezTo>
                      <a:pt x="98" y="27"/>
                      <a:pt x="98" y="27"/>
                      <a:pt x="98" y="27"/>
                    </a:cubicBezTo>
                    <a:cubicBezTo>
                      <a:pt x="94" y="35"/>
                      <a:pt x="96" y="46"/>
                      <a:pt x="103" y="54"/>
                    </a:cubicBezTo>
                    <a:cubicBezTo>
                      <a:pt x="108" y="58"/>
                      <a:pt x="114" y="61"/>
                      <a:pt x="120" y="61"/>
                    </a:cubicBezTo>
                    <a:cubicBezTo>
                      <a:pt x="126" y="61"/>
                      <a:pt x="132" y="58"/>
                      <a:pt x="137" y="54"/>
                    </a:cubicBezTo>
                    <a:cubicBezTo>
                      <a:pt x="147" y="44"/>
                      <a:pt x="147" y="29"/>
                      <a:pt x="137" y="20"/>
                    </a:cubicBezTo>
                    <a:cubicBezTo>
                      <a:pt x="137" y="20"/>
                      <a:pt x="137" y="20"/>
                      <a:pt x="137" y="20"/>
                    </a:cubicBezTo>
                    <a:cubicBezTo>
                      <a:pt x="129" y="12"/>
                      <a:pt x="117" y="11"/>
                      <a:pt x="108" y="16"/>
                    </a:cubicBezTo>
                    <a:cubicBezTo>
                      <a:pt x="92" y="0"/>
                      <a:pt x="92" y="0"/>
                      <a:pt x="92" y="0"/>
                    </a:cubicBezTo>
                    <a:cubicBezTo>
                      <a:pt x="69" y="0"/>
                      <a:pt x="69" y="0"/>
                      <a:pt x="69" y="0"/>
                    </a:cubicBezTo>
                    <a:cubicBezTo>
                      <a:pt x="38" y="35"/>
                      <a:pt x="38" y="35"/>
                      <a:pt x="38" y="35"/>
                    </a:cubicBezTo>
                    <a:cubicBezTo>
                      <a:pt x="29" y="30"/>
                      <a:pt x="17" y="31"/>
                      <a:pt x="10" y="39"/>
                    </a:cubicBezTo>
                    <a:cubicBezTo>
                      <a:pt x="0" y="48"/>
                      <a:pt x="0" y="64"/>
                      <a:pt x="10" y="73"/>
                    </a:cubicBezTo>
                    <a:cubicBezTo>
                      <a:pt x="14" y="78"/>
                      <a:pt x="21" y="80"/>
                      <a:pt x="27" y="80"/>
                    </a:cubicBezTo>
                    <a:close/>
                    <a:moveTo>
                      <a:pt x="127" y="30"/>
                    </a:moveTo>
                    <a:cubicBezTo>
                      <a:pt x="131" y="33"/>
                      <a:pt x="131" y="40"/>
                      <a:pt x="127" y="44"/>
                    </a:cubicBezTo>
                    <a:cubicBezTo>
                      <a:pt x="123" y="48"/>
                      <a:pt x="117" y="48"/>
                      <a:pt x="113" y="44"/>
                    </a:cubicBezTo>
                    <a:cubicBezTo>
                      <a:pt x="110" y="41"/>
                      <a:pt x="109" y="36"/>
                      <a:pt x="111" y="32"/>
                    </a:cubicBezTo>
                    <a:cubicBezTo>
                      <a:pt x="112" y="32"/>
                      <a:pt x="112" y="31"/>
                      <a:pt x="113" y="31"/>
                    </a:cubicBezTo>
                    <a:cubicBezTo>
                      <a:pt x="113" y="30"/>
                      <a:pt x="114" y="29"/>
                      <a:pt x="114" y="28"/>
                    </a:cubicBezTo>
                    <a:cubicBezTo>
                      <a:pt x="116" y="27"/>
                      <a:pt x="118" y="27"/>
                      <a:pt x="120" y="27"/>
                    </a:cubicBezTo>
                    <a:cubicBezTo>
                      <a:pt x="123" y="27"/>
                      <a:pt x="125" y="28"/>
                      <a:pt x="127" y="30"/>
                    </a:cubicBezTo>
                    <a:close/>
                    <a:moveTo>
                      <a:pt x="20" y="49"/>
                    </a:moveTo>
                    <a:cubicBezTo>
                      <a:pt x="22" y="47"/>
                      <a:pt x="24" y="46"/>
                      <a:pt x="27" y="46"/>
                    </a:cubicBezTo>
                    <a:cubicBezTo>
                      <a:pt x="29" y="46"/>
                      <a:pt x="32" y="47"/>
                      <a:pt x="34" y="49"/>
                    </a:cubicBezTo>
                    <a:cubicBezTo>
                      <a:pt x="38" y="53"/>
                      <a:pt x="38" y="59"/>
                      <a:pt x="34" y="63"/>
                    </a:cubicBezTo>
                    <a:cubicBezTo>
                      <a:pt x="30" y="67"/>
                      <a:pt x="23" y="67"/>
                      <a:pt x="20" y="63"/>
                    </a:cubicBezTo>
                    <a:cubicBezTo>
                      <a:pt x="16" y="59"/>
                      <a:pt x="16" y="53"/>
                      <a:pt x="20" y="49"/>
                    </a:cubicBezTo>
                    <a:close/>
                  </a:path>
                </a:pathLst>
              </a:custGeom>
              <a:grpFill/>
              <a:ln w="9525">
                <a:solidFill>
                  <a:schemeClr val="tx1"/>
                </a:solid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4" name="Freeform 32">
                <a:extLst>
                  <a:ext uri="{FF2B5EF4-FFF2-40B4-BE49-F238E27FC236}">
                    <a16:creationId xmlns:a16="http://schemas.microsoft.com/office/drawing/2014/main" id="{CE201DD1-896B-4E09-A162-D5511FF5FBB1}"/>
                  </a:ext>
                </a:extLst>
              </p:cNvPr>
              <p:cNvSpPr>
                <a:spLocks noEditPoints="1"/>
              </p:cNvSpPr>
              <p:nvPr/>
            </p:nvSpPr>
            <p:spPr bwMode="auto">
              <a:xfrm>
                <a:off x="1908175" y="7586663"/>
                <a:ext cx="125413" cy="120650"/>
              </a:xfrm>
              <a:custGeom>
                <a:avLst/>
                <a:gdLst>
                  <a:gd name="T0" fmla="*/ 25 w 123"/>
                  <a:gd name="T1" fmla="*/ 49 h 118"/>
                  <a:gd name="T2" fmla="*/ 48 w 123"/>
                  <a:gd name="T3" fmla="*/ 32 h 118"/>
                  <a:gd name="T4" fmla="*/ 79 w 123"/>
                  <a:gd name="T5" fmla="*/ 32 h 118"/>
                  <a:gd name="T6" fmla="*/ 93 w 123"/>
                  <a:gd name="T7" fmla="*/ 46 h 118"/>
                  <a:gd name="T8" fmla="*/ 93 w 123"/>
                  <a:gd name="T9" fmla="*/ 69 h 118"/>
                  <a:gd name="T10" fmla="*/ 74 w 123"/>
                  <a:gd name="T11" fmla="*/ 93 h 118"/>
                  <a:gd name="T12" fmla="*/ 98 w 123"/>
                  <a:gd name="T13" fmla="*/ 118 h 118"/>
                  <a:gd name="T14" fmla="*/ 123 w 123"/>
                  <a:gd name="T15" fmla="*/ 93 h 118"/>
                  <a:gd name="T16" fmla="*/ 107 w 123"/>
                  <a:gd name="T17" fmla="*/ 70 h 118"/>
                  <a:gd name="T18" fmla="*/ 107 w 123"/>
                  <a:gd name="T19" fmla="*/ 40 h 118"/>
                  <a:gd name="T20" fmla="*/ 85 w 123"/>
                  <a:gd name="T21" fmla="*/ 18 h 118"/>
                  <a:gd name="T22" fmla="*/ 48 w 123"/>
                  <a:gd name="T23" fmla="*/ 18 h 118"/>
                  <a:gd name="T24" fmla="*/ 25 w 123"/>
                  <a:gd name="T25" fmla="*/ 0 h 118"/>
                  <a:gd name="T26" fmla="*/ 0 w 123"/>
                  <a:gd name="T27" fmla="*/ 25 h 118"/>
                  <a:gd name="T28" fmla="*/ 25 w 123"/>
                  <a:gd name="T29" fmla="*/ 49 h 118"/>
                  <a:gd name="T30" fmla="*/ 98 w 123"/>
                  <a:gd name="T31" fmla="*/ 104 h 118"/>
                  <a:gd name="T32" fmla="*/ 88 w 123"/>
                  <a:gd name="T33" fmla="*/ 93 h 118"/>
                  <a:gd name="T34" fmla="*/ 98 w 123"/>
                  <a:gd name="T35" fmla="*/ 83 h 118"/>
                  <a:gd name="T36" fmla="*/ 109 w 123"/>
                  <a:gd name="T37" fmla="*/ 93 h 118"/>
                  <a:gd name="T38" fmla="*/ 98 w 123"/>
                  <a:gd name="T39" fmla="*/ 104 h 118"/>
                  <a:gd name="T40" fmla="*/ 25 w 123"/>
                  <a:gd name="T41" fmla="*/ 14 h 118"/>
                  <a:gd name="T42" fmla="*/ 35 w 123"/>
                  <a:gd name="T43" fmla="*/ 25 h 118"/>
                  <a:gd name="T44" fmla="*/ 25 w 123"/>
                  <a:gd name="T45" fmla="*/ 35 h 118"/>
                  <a:gd name="T46" fmla="*/ 14 w 123"/>
                  <a:gd name="T47" fmla="*/ 25 h 118"/>
                  <a:gd name="T48" fmla="*/ 25 w 123"/>
                  <a:gd name="T49" fmla="*/ 1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 h="118">
                    <a:moveTo>
                      <a:pt x="25" y="49"/>
                    </a:moveTo>
                    <a:cubicBezTo>
                      <a:pt x="36" y="49"/>
                      <a:pt x="45" y="42"/>
                      <a:pt x="48" y="32"/>
                    </a:cubicBezTo>
                    <a:cubicBezTo>
                      <a:pt x="79" y="32"/>
                      <a:pt x="79" y="32"/>
                      <a:pt x="79" y="32"/>
                    </a:cubicBezTo>
                    <a:cubicBezTo>
                      <a:pt x="93" y="46"/>
                      <a:pt x="93" y="46"/>
                      <a:pt x="93" y="46"/>
                    </a:cubicBezTo>
                    <a:cubicBezTo>
                      <a:pt x="93" y="69"/>
                      <a:pt x="93" y="69"/>
                      <a:pt x="93" y="69"/>
                    </a:cubicBezTo>
                    <a:cubicBezTo>
                      <a:pt x="82" y="72"/>
                      <a:pt x="74" y="82"/>
                      <a:pt x="74" y="93"/>
                    </a:cubicBezTo>
                    <a:cubicBezTo>
                      <a:pt x="74" y="107"/>
                      <a:pt x="85" y="118"/>
                      <a:pt x="98" y="118"/>
                    </a:cubicBezTo>
                    <a:cubicBezTo>
                      <a:pt x="112" y="118"/>
                      <a:pt x="123" y="107"/>
                      <a:pt x="123" y="93"/>
                    </a:cubicBezTo>
                    <a:cubicBezTo>
                      <a:pt x="123" y="83"/>
                      <a:pt x="116" y="74"/>
                      <a:pt x="107" y="70"/>
                    </a:cubicBezTo>
                    <a:cubicBezTo>
                      <a:pt x="107" y="40"/>
                      <a:pt x="107" y="40"/>
                      <a:pt x="107" y="40"/>
                    </a:cubicBezTo>
                    <a:cubicBezTo>
                      <a:pt x="85" y="18"/>
                      <a:pt x="85" y="18"/>
                      <a:pt x="85" y="18"/>
                    </a:cubicBezTo>
                    <a:cubicBezTo>
                      <a:pt x="48" y="18"/>
                      <a:pt x="48" y="18"/>
                      <a:pt x="48" y="18"/>
                    </a:cubicBezTo>
                    <a:cubicBezTo>
                      <a:pt x="45" y="7"/>
                      <a:pt x="36" y="0"/>
                      <a:pt x="25" y="0"/>
                    </a:cubicBezTo>
                    <a:cubicBezTo>
                      <a:pt x="11" y="0"/>
                      <a:pt x="0" y="11"/>
                      <a:pt x="0" y="25"/>
                    </a:cubicBezTo>
                    <a:cubicBezTo>
                      <a:pt x="0" y="38"/>
                      <a:pt x="11" y="49"/>
                      <a:pt x="25" y="49"/>
                    </a:cubicBezTo>
                    <a:close/>
                    <a:moveTo>
                      <a:pt x="98" y="104"/>
                    </a:moveTo>
                    <a:cubicBezTo>
                      <a:pt x="93" y="104"/>
                      <a:pt x="88" y="99"/>
                      <a:pt x="88" y="93"/>
                    </a:cubicBezTo>
                    <a:cubicBezTo>
                      <a:pt x="88" y="87"/>
                      <a:pt x="93" y="83"/>
                      <a:pt x="98" y="83"/>
                    </a:cubicBezTo>
                    <a:cubicBezTo>
                      <a:pt x="104" y="83"/>
                      <a:pt x="109" y="87"/>
                      <a:pt x="109" y="93"/>
                    </a:cubicBezTo>
                    <a:cubicBezTo>
                      <a:pt x="109" y="99"/>
                      <a:pt x="104" y="104"/>
                      <a:pt x="98" y="104"/>
                    </a:cubicBezTo>
                    <a:close/>
                    <a:moveTo>
                      <a:pt x="25" y="14"/>
                    </a:moveTo>
                    <a:cubicBezTo>
                      <a:pt x="30" y="14"/>
                      <a:pt x="35" y="19"/>
                      <a:pt x="35" y="25"/>
                    </a:cubicBezTo>
                    <a:cubicBezTo>
                      <a:pt x="35" y="30"/>
                      <a:pt x="30" y="35"/>
                      <a:pt x="25" y="35"/>
                    </a:cubicBezTo>
                    <a:cubicBezTo>
                      <a:pt x="19" y="35"/>
                      <a:pt x="14" y="30"/>
                      <a:pt x="14" y="25"/>
                    </a:cubicBezTo>
                    <a:cubicBezTo>
                      <a:pt x="14" y="19"/>
                      <a:pt x="19" y="14"/>
                      <a:pt x="25" y="14"/>
                    </a:cubicBezTo>
                    <a:close/>
                  </a:path>
                </a:pathLst>
              </a:custGeom>
              <a:grpFill/>
              <a:ln w="9525">
                <a:solidFill>
                  <a:schemeClr val="tx1"/>
                </a:solid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5" name="Freeform 33">
                <a:extLst>
                  <a:ext uri="{FF2B5EF4-FFF2-40B4-BE49-F238E27FC236}">
                    <a16:creationId xmlns:a16="http://schemas.microsoft.com/office/drawing/2014/main" id="{16E6C0AB-573C-4529-B2E3-3DDC00418B73}"/>
                  </a:ext>
                </a:extLst>
              </p:cNvPr>
              <p:cNvSpPr>
                <a:spLocks noEditPoints="1"/>
              </p:cNvSpPr>
              <p:nvPr/>
            </p:nvSpPr>
            <p:spPr bwMode="auto">
              <a:xfrm>
                <a:off x="1755775" y="7545388"/>
                <a:ext cx="149225" cy="228600"/>
              </a:xfrm>
              <a:custGeom>
                <a:avLst/>
                <a:gdLst>
                  <a:gd name="T0" fmla="*/ 129 w 146"/>
                  <a:gd name="T1" fmla="*/ 175 h 223"/>
                  <a:gd name="T2" fmla="*/ 129 w 146"/>
                  <a:gd name="T3" fmla="*/ 48 h 223"/>
                  <a:gd name="T4" fmla="*/ 146 w 146"/>
                  <a:gd name="T5" fmla="*/ 25 h 223"/>
                  <a:gd name="T6" fmla="*/ 122 w 146"/>
                  <a:gd name="T7" fmla="*/ 1 h 223"/>
                  <a:gd name="T8" fmla="*/ 98 w 146"/>
                  <a:gd name="T9" fmla="*/ 21 h 223"/>
                  <a:gd name="T10" fmla="*/ 51 w 146"/>
                  <a:gd name="T11" fmla="*/ 21 h 223"/>
                  <a:gd name="T12" fmla="*/ 41 w 146"/>
                  <a:gd name="T13" fmla="*/ 6 h 223"/>
                  <a:gd name="T14" fmla="*/ 23 w 146"/>
                  <a:gd name="T15" fmla="*/ 1 h 223"/>
                  <a:gd name="T16" fmla="*/ 2 w 146"/>
                  <a:gd name="T17" fmla="*/ 29 h 223"/>
                  <a:gd name="T18" fmla="*/ 12 w 146"/>
                  <a:gd name="T19" fmla="*/ 45 h 223"/>
                  <a:gd name="T20" fmla="*/ 27 w 146"/>
                  <a:gd name="T21" fmla="*/ 50 h 223"/>
                  <a:gd name="T22" fmla="*/ 30 w 146"/>
                  <a:gd name="T23" fmla="*/ 50 h 223"/>
                  <a:gd name="T24" fmla="*/ 49 w 146"/>
                  <a:gd name="T25" fmla="*/ 35 h 223"/>
                  <a:gd name="T26" fmla="*/ 100 w 146"/>
                  <a:gd name="T27" fmla="*/ 35 h 223"/>
                  <a:gd name="T28" fmla="*/ 115 w 146"/>
                  <a:gd name="T29" fmla="*/ 48 h 223"/>
                  <a:gd name="T30" fmla="*/ 115 w 146"/>
                  <a:gd name="T31" fmla="*/ 175 h 223"/>
                  <a:gd name="T32" fmla="*/ 97 w 146"/>
                  <a:gd name="T33" fmla="*/ 198 h 223"/>
                  <a:gd name="T34" fmla="*/ 122 w 146"/>
                  <a:gd name="T35" fmla="*/ 223 h 223"/>
                  <a:gd name="T36" fmla="*/ 146 w 146"/>
                  <a:gd name="T37" fmla="*/ 198 h 223"/>
                  <a:gd name="T38" fmla="*/ 129 w 146"/>
                  <a:gd name="T39" fmla="*/ 175 h 223"/>
                  <a:gd name="T40" fmla="*/ 28 w 146"/>
                  <a:gd name="T41" fmla="*/ 36 h 223"/>
                  <a:gd name="T42" fmla="*/ 16 w 146"/>
                  <a:gd name="T43" fmla="*/ 27 h 223"/>
                  <a:gd name="T44" fmla="*/ 25 w 146"/>
                  <a:gd name="T45" fmla="*/ 15 h 223"/>
                  <a:gd name="T46" fmla="*/ 33 w 146"/>
                  <a:gd name="T47" fmla="*/ 17 h 223"/>
                  <a:gd name="T48" fmla="*/ 37 w 146"/>
                  <a:gd name="T49" fmla="*/ 24 h 223"/>
                  <a:gd name="T50" fmla="*/ 28 w 146"/>
                  <a:gd name="T51" fmla="*/ 36 h 223"/>
                  <a:gd name="T52" fmla="*/ 112 w 146"/>
                  <a:gd name="T53" fmla="*/ 25 h 223"/>
                  <a:gd name="T54" fmla="*/ 122 w 146"/>
                  <a:gd name="T55" fmla="*/ 15 h 223"/>
                  <a:gd name="T56" fmla="*/ 132 w 146"/>
                  <a:gd name="T57" fmla="*/ 25 h 223"/>
                  <a:gd name="T58" fmla="*/ 122 w 146"/>
                  <a:gd name="T59" fmla="*/ 35 h 223"/>
                  <a:gd name="T60" fmla="*/ 122 w 146"/>
                  <a:gd name="T61" fmla="*/ 35 h 223"/>
                  <a:gd name="T62" fmla="*/ 122 w 146"/>
                  <a:gd name="T63" fmla="*/ 35 h 223"/>
                  <a:gd name="T64" fmla="*/ 112 w 146"/>
                  <a:gd name="T65" fmla="*/ 25 h 223"/>
                  <a:gd name="T66" fmla="*/ 122 w 146"/>
                  <a:gd name="T67" fmla="*/ 209 h 223"/>
                  <a:gd name="T68" fmla="*/ 111 w 146"/>
                  <a:gd name="T69" fmla="*/ 198 h 223"/>
                  <a:gd name="T70" fmla="*/ 122 w 146"/>
                  <a:gd name="T71" fmla="*/ 188 h 223"/>
                  <a:gd name="T72" fmla="*/ 132 w 146"/>
                  <a:gd name="T73" fmla="*/ 198 h 223"/>
                  <a:gd name="T74" fmla="*/ 122 w 146"/>
                  <a:gd name="T75" fmla="*/ 20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 h="223">
                    <a:moveTo>
                      <a:pt x="129" y="175"/>
                    </a:moveTo>
                    <a:cubicBezTo>
                      <a:pt x="129" y="48"/>
                      <a:pt x="129" y="48"/>
                      <a:pt x="129" y="48"/>
                    </a:cubicBezTo>
                    <a:cubicBezTo>
                      <a:pt x="139" y="45"/>
                      <a:pt x="146" y="36"/>
                      <a:pt x="146" y="25"/>
                    </a:cubicBezTo>
                    <a:cubicBezTo>
                      <a:pt x="146" y="12"/>
                      <a:pt x="135" y="1"/>
                      <a:pt x="122" y="1"/>
                    </a:cubicBezTo>
                    <a:cubicBezTo>
                      <a:pt x="110" y="1"/>
                      <a:pt x="100" y="10"/>
                      <a:pt x="98" y="21"/>
                    </a:cubicBezTo>
                    <a:cubicBezTo>
                      <a:pt x="51" y="21"/>
                      <a:pt x="51" y="21"/>
                      <a:pt x="51" y="21"/>
                    </a:cubicBezTo>
                    <a:cubicBezTo>
                      <a:pt x="50" y="15"/>
                      <a:pt x="46" y="9"/>
                      <a:pt x="41" y="6"/>
                    </a:cubicBezTo>
                    <a:cubicBezTo>
                      <a:pt x="36" y="2"/>
                      <a:pt x="30" y="0"/>
                      <a:pt x="23" y="1"/>
                    </a:cubicBezTo>
                    <a:cubicBezTo>
                      <a:pt x="10" y="3"/>
                      <a:pt x="0" y="15"/>
                      <a:pt x="2" y="29"/>
                    </a:cubicBezTo>
                    <a:cubicBezTo>
                      <a:pt x="3" y="35"/>
                      <a:pt x="7" y="41"/>
                      <a:pt x="12" y="45"/>
                    </a:cubicBezTo>
                    <a:cubicBezTo>
                      <a:pt x="16" y="48"/>
                      <a:pt x="21" y="50"/>
                      <a:pt x="27" y="50"/>
                    </a:cubicBezTo>
                    <a:cubicBezTo>
                      <a:pt x="28" y="50"/>
                      <a:pt x="29" y="50"/>
                      <a:pt x="30" y="50"/>
                    </a:cubicBezTo>
                    <a:cubicBezTo>
                      <a:pt x="39" y="48"/>
                      <a:pt x="46" y="42"/>
                      <a:pt x="49" y="35"/>
                    </a:cubicBezTo>
                    <a:cubicBezTo>
                      <a:pt x="100" y="35"/>
                      <a:pt x="100" y="35"/>
                      <a:pt x="100" y="35"/>
                    </a:cubicBezTo>
                    <a:cubicBezTo>
                      <a:pt x="102" y="41"/>
                      <a:pt x="108" y="46"/>
                      <a:pt x="115" y="48"/>
                    </a:cubicBezTo>
                    <a:cubicBezTo>
                      <a:pt x="115" y="175"/>
                      <a:pt x="115" y="175"/>
                      <a:pt x="115" y="175"/>
                    </a:cubicBezTo>
                    <a:cubicBezTo>
                      <a:pt x="105" y="178"/>
                      <a:pt x="97" y="187"/>
                      <a:pt x="97" y="198"/>
                    </a:cubicBezTo>
                    <a:cubicBezTo>
                      <a:pt x="97" y="212"/>
                      <a:pt x="108" y="223"/>
                      <a:pt x="122" y="223"/>
                    </a:cubicBezTo>
                    <a:cubicBezTo>
                      <a:pt x="135" y="223"/>
                      <a:pt x="146" y="212"/>
                      <a:pt x="146" y="198"/>
                    </a:cubicBezTo>
                    <a:cubicBezTo>
                      <a:pt x="146" y="187"/>
                      <a:pt x="139" y="178"/>
                      <a:pt x="129" y="175"/>
                    </a:cubicBezTo>
                    <a:close/>
                    <a:moveTo>
                      <a:pt x="28" y="36"/>
                    </a:moveTo>
                    <a:cubicBezTo>
                      <a:pt x="22" y="37"/>
                      <a:pt x="17" y="33"/>
                      <a:pt x="16" y="27"/>
                    </a:cubicBezTo>
                    <a:cubicBezTo>
                      <a:pt x="15" y="21"/>
                      <a:pt x="19" y="16"/>
                      <a:pt x="25" y="15"/>
                    </a:cubicBezTo>
                    <a:cubicBezTo>
                      <a:pt x="28" y="14"/>
                      <a:pt x="31" y="15"/>
                      <a:pt x="33" y="17"/>
                    </a:cubicBezTo>
                    <a:cubicBezTo>
                      <a:pt x="35" y="19"/>
                      <a:pt x="37" y="21"/>
                      <a:pt x="37" y="24"/>
                    </a:cubicBezTo>
                    <a:cubicBezTo>
                      <a:pt x="38" y="30"/>
                      <a:pt x="34" y="35"/>
                      <a:pt x="28" y="36"/>
                    </a:cubicBezTo>
                    <a:close/>
                    <a:moveTo>
                      <a:pt x="112" y="25"/>
                    </a:moveTo>
                    <a:cubicBezTo>
                      <a:pt x="112" y="20"/>
                      <a:pt x="116" y="15"/>
                      <a:pt x="122" y="15"/>
                    </a:cubicBezTo>
                    <a:cubicBezTo>
                      <a:pt x="127" y="15"/>
                      <a:pt x="132" y="20"/>
                      <a:pt x="132" y="25"/>
                    </a:cubicBezTo>
                    <a:cubicBezTo>
                      <a:pt x="132" y="31"/>
                      <a:pt x="127" y="35"/>
                      <a:pt x="122" y="35"/>
                    </a:cubicBezTo>
                    <a:cubicBezTo>
                      <a:pt x="122" y="35"/>
                      <a:pt x="122" y="35"/>
                      <a:pt x="122" y="35"/>
                    </a:cubicBezTo>
                    <a:cubicBezTo>
                      <a:pt x="122" y="35"/>
                      <a:pt x="122" y="35"/>
                      <a:pt x="122" y="35"/>
                    </a:cubicBezTo>
                    <a:cubicBezTo>
                      <a:pt x="116" y="35"/>
                      <a:pt x="112" y="31"/>
                      <a:pt x="112" y="25"/>
                    </a:cubicBezTo>
                    <a:close/>
                    <a:moveTo>
                      <a:pt x="122" y="209"/>
                    </a:moveTo>
                    <a:cubicBezTo>
                      <a:pt x="116" y="209"/>
                      <a:pt x="111" y="204"/>
                      <a:pt x="111" y="198"/>
                    </a:cubicBezTo>
                    <a:cubicBezTo>
                      <a:pt x="111" y="192"/>
                      <a:pt x="116" y="188"/>
                      <a:pt x="122" y="188"/>
                    </a:cubicBezTo>
                    <a:cubicBezTo>
                      <a:pt x="128" y="188"/>
                      <a:pt x="132" y="192"/>
                      <a:pt x="132" y="198"/>
                    </a:cubicBezTo>
                    <a:cubicBezTo>
                      <a:pt x="132" y="204"/>
                      <a:pt x="128" y="209"/>
                      <a:pt x="122" y="209"/>
                    </a:cubicBezTo>
                    <a:close/>
                  </a:path>
                </a:pathLst>
              </a:custGeom>
              <a:grpFill/>
              <a:ln w="9525">
                <a:solidFill>
                  <a:schemeClr val="tx1"/>
                </a:solid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6" name="Freeform 34">
                <a:extLst>
                  <a:ext uri="{FF2B5EF4-FFF2-40B4-BE49-F238E27FC236}">
                    <a16:creationId xmlns:a16="http://schemas.microsoft.com/office/drawing/2014/main" id="{A5D70FFE-7073-403A-8B28-9EDD1D930257}"/>
                  </a:ext>
                </a:extLst>
              </p:cNvPr>
              <p:cNvSpPr>
                <a:spLocks noEditPoints="1"/>
              </p:cNvSpPr>
              <p:nvPr/>
            </p:nvSpPr>
            <p:spPr bwMode="auto">
              <a:xfrm>
                <a:off x="1644650" y="7762876"/>
                <a:ext cx="174625" cy="77788"/>
              </a:xfrm>
              <a:custGeom>
                <a:avLst/>
                <a:gdLst>
                  <a:gd name="T0" fmla="*/ 166 w 173"/>
                  <a:gd name="T1" fmla="*/ 62 h 76"/>
                  <a:gd name="T2" fmla="*/ 70 w 173"/>
                  <a:gd name="T3" fmla="*/ 62 h 76"/>
                  <a:gd name="T4" fmla="*/ 48 w 173"/>
                  <a:gd name="T5" fmla="*/ 40 h 76"/>
                  <a:gd name="T6" fmla="*/ 44 w 173"/>
                  <a:gd name="T7" fmla="*/ 9 h 76"/>
                  <a:gd name="T8" fmla="*/ 10 w 173"/>
                  <a:gd name="T9" fmla="*/ 9 h 76"/>
                  <a:gd name="T10" fmla="*/ 10 w 173"/>
                  <a:gd name="T11" fmla="*/ 44 h 76"/>
                  <a:gd name="T12" fmla="*/ 27 w 173"/>
                  <a:gd name="T13" fmla="*/ 51 h 76"/>
                  <a:gd name="T14" fmla="*/ 37 w 173"/>
                  <a:gd name="T15" fmla="*/ 49 h 76"/>
                  <a:gd name="T16" fmla="*/ 37 w 173"/>
                  <a:gd name="T17" fmla="*/ 49 h 76"/>
                  <a:gd name="T18" fmla="*/ 65 w 173"/>
                  <a:gd name="T19" fmla="*/ 76 h 76"/>
                  <a:gd name="T20" fmla="*/ 166 w 173"/>
                  <a:gd name="T21" fmla="*/ 76 h 76"/>
                  <a:gd name="T22" fmla="*/ 173 w 173"/>
                  <a:gd name="T23" fmla="*/ 69 h 76"/>
                  <a:gd name="T24" fmla="*/ 166 w 173"/>
                  <a:gd name="T25" fmla="*/ 62 h 76"/>
                  <a:gd name="T26" fmla="*/ 20 w 173"/>
                  <a:gd name="T27" fmla="*/ 34 h 76"/>
                  <a:gd name="T28" fmla="*/ 20 w 173"/>
                  <a:gd name="T29" fmla="*/ 19 h 76"/>
                  <a:gd name="T30" fmla="*/ 27 w 173"/>
                  <a:gd name="T31" fmla="*/ 16 h 76"/>
                  <a:gd name="T32" fmla="*/ 35 w 173"/>
                  <a:gd name="T33" fmla="*/ 19 h 76"/>
                  <a:gd name="T34" fmla="*/ 35 w 173"/>
                  <a:gd name="T35" fmla="*/ 34 h 76"/>
                  <a:gd name="T36" fmla="*/ 20 w 173"/>
                  <a:gd name="T37"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3" h="76">
                    <a:moveTo>
                      <a:pt x="166" y="62"/>
                    </a:moveTo>
                    <a:cubicBezTo>
                      <a:pt x="70" y="62"/>
                      <a:pt x="70" y="62"/>
                      <a:pt x="70" y="62"/>
                    </a:cubicBezTo>
                    <a:cubicBezTo>
                      <a:pt x="48" y="40"/>
                      <a:pt x="48" y="40"/>
                      <a:pt x="48" y="40"/>
                    </a:cubicBezTo>
                    <a:cubicBezTo>
                      <a:pt x="54" y="30"/>
                      <a:pt x="53" y="18"/>
                      <a:pt x="44" y="9"/>
                    </a:cubicBezTo>
                    <a:cubicBezTo>
                      <a:pt x="35" y="0"/>
                      <a:pt x="19" y="0"/>
                      <a:pt x="10" y="9"/>
                    </a:cubicBezTo>
                    <a:cubicBezTo>
                      <a:pt x="0" y="19"/>
                      <a:pt x="0" y="35"/>
                      <a:pt x="10" y="44"/>
                    </a:cubicBezTo>
                    <a:cubicBezTo>
                      <a:pt x="15" y="49"/>
                      <a:pt x="21" y="51"/>
                      <a:pt x="27" y="51"/>
                    </a:cubicBezTo>
                    <a:cubicBezTo>
                      <a:pt x="31" y="51"/>
                      <a:pt x="34" y="50"/>
                      <a:pt x="37" y="49"/>
                    </a:cubicBezTo>
                    <a:cubicBezTo>
                      <a:pt x="37" y="49"/>
                      <a:pt x="37" y="49"/>
                      <a:pt x="37" y="49"/>
                    </a:cubicBezTo>
                    <a:cubicBezTo>
                      <a:pt x="65" y="76"/>
                      <a:pt x="65" y="76"/>
                      <a:pt x="65" y="76"/>
                    </a:cubicBezTo>
                    <a:cubicBezTo>
                      <a:pt x="166" y="76"/>
                      <a:pt x="166" y="76"/>
                      <a:pt x="166" y="76"/>
                    </a:cubicBezTo>
                    <a:cubicBezTo>
                      <a:pt x="170" y="76"/>
                      <a:pt x="173" y="73"/>
                      <a:pt x="173" y="69"/>
                    </a:cubicBezTo>
                    <a:cubicBezTo>
                      <a:pt x="173" y="66"/>
                      <a:pt x="170" y="62"/>
                      <a:pt x="166" y="62"/>
                    </a:cubicBezTo>
                    <a:close/>
                    <a:moveTo>
                      <a:pt x="20" y="34"/>
                    </a:moveTo>
                    <a:cubicBezTo>
                      <a:pt x="16" y="30"/>
                      <a:pt x="16" y="23"/>
                      <a:pt x="20" y="19"/>
                    </a:cubicBezTo>
                    <a:cubicBezTo>
                      <a:pt x="22" y="17"/>
                      <a:pt x="24" y="16"/>
                      <a:pt x="27" y="16"/>
                    </a:cubicBezTo>
                    <a:cubicBezTo>
                      <a:pt x="30" y="16"/>
                      <a:pt x="33" y="17"/>
                      <a:pt x="35" y="19"/>
                    </a:cubicBezTo>
                    <a:cubicBezTo>
                      <a:pt x="39" y="23"/>
                      <a:pt x="39" y="30"/>
                      <a:pt x="35" y="34"/>
                    </a:cubicBezTo>
                    <a:cubicBezTo>
                      <a:pt x="30" y="38"/>
                      <a:pt x="24" y="38"/>
                      <a:pt x="20" y="34"/>
                    </a:cubicBezTo>
                    <a:close/>
                  </a:path>
                </a:pathLst>
              </a:custGeom>
              <a:grpFill/>
              <a:ln w="9525">
                <a:solidFill>
                  <a:schemeClr val="tx1"/>
                </a:solidFill>
                <a:round/>
                <a:headEnd/>
                <a:tailEnd/>
              </a:ln>
            </p:spPr>
            <p:txBody>
              <a:bodyPr vert="horz" wrap="square" lIns="91440" tIns="91440" rIns="91440" bIns="9144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0" name="Group 19">
            <a:extLst>
              <a:ext uri="{FF2B5EF4-FFF2-40B4-BE49-F238E27FC236}">
                <a16:creationId xmlns:a16="http://schemas.microsoft.com/office/drawing/2014/main" id="{F62D4261-25D5-48AB-B7C2-D1DA598F4D93}"/>
              </a:ext>
            </a:extLst>
          </p:cNvPr>
          <p:cNvGrpSpPr/>
          <p:nvPr/>
        </p:nvGrpSpPr>
        <p:grpSpPr>
          <a:xfrm>
            <a:off x="9611597" y="3003181"/>
            <a:ext cx="1419232" cy="461665"/>
            <a:chOff x="3344678" y="1970039"/>
            <a:chExt cx="1273430" cy="461665"/>
          </a:xfrm>
        </p:grpSpPr>
        <p:sp>
          <p:nvSpPr>
            <p:cNvPr id="319" name="Rectangle 318">
              <a:extLst>
                <a:ext uri="{FF2B5EF4-FFF2-40B4-BE49-F238E27FC236}">
                  <a16:creationId xmlns:a16="http://schemas.microsoft.com/office/drawing/2014/main" id="{28E5EA37-A15A-4406-847A-F75BF277F589}"/>
                </a:ext>
              </a:extLst>
            </p:cNvPr>
            <p:cNvSpPr/>
            <p:nvPr/>
          </p:nvSpPr>
          <p:spPr>
            <a:xfrm>
              <a:off x="3676241" y="1970039"/>
              <a:ext cx="941867" cy="46166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Predictive Analytics</a:t>
              </a:r>
            </a:p>
          </p:txBody>
        </p:sp>
        <p:grpSp>
          <p:nvGrpSpPr>
            <p:cNvPr id="320" name="Group 319">
              <a:extLst>
                <a:ext uri="{FF2B5EF4-FFF2-40B4-BE49-F238E27FC236}">
                  <a16:creationId xmlns:a16="http://schemas.microsoft.com/office/drawing/2014/main" id="{0949FF8C-AB4F-4C06-80CF-E3D191E9CEB9}"/>
                </a:ext>
              </a:extLst>
            </p:cNvPr>
            <p:cNvGrpSpPr/>
            <p:nvPr/>
          </p:nvGrpSpPr>
          <p:grpSpPr>
            <a:xfrm>
              <a:off x="3344678" y="2101492"/>
              <a:ext cx="426980" cy="215244"/>
              <a:chOff x="2778363" y="3438655"/>
              <a:chExt cx="438046" cy="220822"/>
            </a:xfrm>
          </p:grpSpPr>
          <p:sp>
            <p:nvSpPr>
              <p:cNvPr id="321" name="Freeform: Shape 320">
                <a:extLst>
                  <a:ext uri="{FF2B5EF4-FFF2-40B4-BE49-F238E27FC236}">
                    <a16:creationId xmlns:a16="http://schemas.microsoft.com/office/drawing/2014/main" id="{52C35AEF-1245-4825-9692-17FDF5B9E019}"/>
                  </a:ext>
                </a:extLst>
              </p:cNvPr>
              <p:cNvSpPr/>
              <p:nvPr/>
            </p:nvSpPr>
            <p:spPr bwMode="auto">
              <a:xfrm>
                <a:off x="2778363" y="3438655"/>
                <a:ext cx="438046" cy="220822"/>
              </a:xfrm>
              <a:custGeom>
                <a:avLst/>
                <a:gdLst>
                  <a:gd name="connsiteX0" fmla="*/ 567922 w 1135845"/>
                  <a:gd name="connsiteY0" fmla="*/ 0 h 278391"/>
                  <a:gd name="connsiteX1" fmla="*/ 1126871 w 1135845"/>
                  <a:gd name="connsiteY1" fmla="*/ 129121 h 278391"/>
                  <a:gd name="connsiteX2" fmla="*/ 1135845 w 1135845"/>
                  <a:gd name="connsiteY2" fmla="*/ 139196 h 278391"/>
                  <a:gd name="connsiteX3" fmla="*/ 1126871 w 1135845"/>
                  <a:gd name="connsiteY3" fmla="*/ 149270 h 278391"/>
                  <a:gd name="connsiteX4" fmla="*/ 567922 w 1135845"/>
                  <a:gd name="connsiteY4" fmla="*/ 278391 h 278391"/>
                  <a:gd name="connsiteX5" fmla="*/ 8973 w 1135845"/>
                  <a:gd name="connsiteY5" fmla="*/ 149270 h 278391"/>
                  <a:gd name="connsiteX6" fmla="*/ 0 w 1135845"/>
                  <a:gd name="connsiteY6" fmla="*/ 139196 h 278391"/>
                  <a:gd name="connsiteX7" fmla="*/ 8973 w 1135845"/>
                  <a:gd name="connsiteY7" fmla="*/ 129121 h 278391"/>
                  <a:gd name="connsiteX8" fmla="*/ 567922 w 1135845"/>
                  <a:gd name="connsiteY8" fmla="*/ 0 h 27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845" h="278391">
                    <a:moveTo>
                      <a:pt x="567922" y="0"/>
                    </a:moveTo>
                    <a:cubicBezTo>
                      <a:pt x="819192" y="0"/>
                      <a:pt x="1034781" y="53242"/>
                      <a:pt x="1126871" y="129121"/>
                    </a:cubicBezTo>
                    <a:lnTo>
                      <a:pt x="1135845" y="139196"/>
                    </a:lnTo>
                    <a:lnTo>
                      <a:pt x="1126871" y="149270"/>
                    </a:lnTo>
                    <a:cubicBezTo>
                      <a:pt x="1034781" y="225149"/>
                      <a:pt x="819192" y="278391"/>
                      <a:pt x="567922" y="278391"/>
                    </a:cubicBezTo>
                    <a:cubicBezTo>
                      <a:pt x="316652" y="278391"/>
                      <a:pt x="101063" y="225149"/>
                      <a:pt x="8973" y="149270"/>
                    </a:cubicBezTo>
                    <a:lnTo>
                      <a:pt x="0" y="139196"/>
                    </a:lnTo>
                    <a:lnTo>
                      <a:pt x="8973" y="129121"/>
                    </a:lnTo>
                    <a:cubicBezTo>
                      <a:pt x="101063" y="53242"/>
                      <a:pt x="316652" y="0"/>
                      <a:pt x="567922"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2" name="Oval 321">
                <a:extLst>
                  <a:ext uri="{FF2B5EF4-FFF2-40B4-BE49-F238E27FC236}">
                    <a16:creationId xmlns:a16="http://schemas.microsoft.com/office/drawing/2014/main" id="{5C07BD0A-0B35-493E-9E77-801043776E6B}"/>
                  </a:ext>
                </a:extLst>
              </p:cNvPr>
              <p:cNvSpPr/>
              <p:nvPr/>
            </p:nvSpPr>
            <p:spPr bwMode="auto">
              <a:xfrm>
                <a:off x="2926443" y="3464284"/>
                <a:ext cx="175502" cy="17550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21" name="Rectangle 20">
            <a:extLst>
              <a:ext uri="{FF2B5EF4-FFF2-40B4-BE49-F238E27FC236}">
                <a16:creationId xmlns:a16="http://schemas.microsoft.com/office/drawing/2014/main" id="{0114D9DA-AC09-4B09-974C-046E4BA1D63D}"/>
              </a:ext>
            </a:extLst>
          </p:cNvPr>
          <p:cNvSpPr/>
          <p:nvPr/>
        </p:nvSpPr>
        <p:spPr>
          <a:xfrm>
            <a:off x="9160668" y="3620000"/>
            <a:ext cx="1160676" cy="492443"/>
          </a:xfrm>
          <a:prstGeom prst="rect">
            <a:avLst/>
          </a:prstGeom>
        </p:spPr>
        <p:txBody>
          <a:bodyPr wrap="square" lIns="91440" tIns="91440" rIns="91440" bIns="91440">
            <a:sp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53535"/>
                </a:solidFill>
                <a:effectLst/>
                <a:uLnTx/>
                <a:uFillTx/>
                <a:latin typeface="Segoe UI Semilight"/>
                <a:ea typeface="+mn-ea"/>
                <a:cs typeface="Segoe UI Semilight" panose="020B0402040204020203" pitchFamily="34" charset="0"/>
              </a:rPr>
              <a:t>New Products/ Services</a:t>
            </a:r>
          </a:p>
        </p:txBody>
      </p:sp>
      <p:grpSp>
        <p:nvGrpSpPr>
          <p:cNvPr id="22" name="Group 21">
            <a:extLst>
              <a:ext uri="{FF2B5EF4-FFF2-40B4-BE49-F238E27FC236}">
                <a16:creationId xmlns:a16="http://schemas.microsoft.com/office/drawing/2014/main" id="{4F60CFED-6B61-40E7-AD5A-9F18DE0734BE}"/>
              </a:ext>
            </a:extLst>
          </p:cNvPr>
          <p:cNvGrpSpPr/>
          <p:nvPr/>
        </p:nvGrpSpPr>
        <p:grpSpPr>
          <a:xfrm>
            <a:off x="9464155" y="3583173"/>
            <a:ext cx="528348" cy="110374"/>
            <a:chOff x="-623157" y="7768374"/>
            <a:chExt cx="684655" cy="143029"/>
          </a:xfrm>
        </p:grpSpPr>
        <p:sp>
          <p:nvSpPr>
            <p:cNvPr id="420" name="Rectangle 37">
              <a:extLst>
                <a:ext uri="{FF2B5EF4-FFF2-40B4-BE49-F238E27FC236}">
                  <a16:creationId xmlns:a16="http://schemas.microsoft.com/office/drawing/2014/main" id="{A16626E0-6F2D-4876-9832-523F5B024D37}"/>
                </a:ext>
              </a:extLst>
            </p:cNvPr>
            <p:cNvSpPr>
              <a:spLocks noChangeArrowheads="1"/>
            </p:cNvSpPr>
            <p:nvPr/>
          </p:nvSpPr>
          <p:spPr bwMode="auto">
            <a:xfrm>
              <a:off x="-623157" y="7768374"/>
              <a:ext cx="144914" cy="143006"/>
            </a:xfrm>
            <a:prstGeom prst="rect">
              <a:avLst/>
            </a:prstGeom>
            <a:noFill/>
            <a:ln w="12700">
              <a:solidFill>
                <a:schemeClr val="tx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1" name="Rectangle 38">
              <a:extLst>
                <a:ext uri="{FF2B5EF4-FFF2-40B4-BE49-F238E27FC236}">
                  <a16:creationId xmlns:a16="http://schemas.microsoft.com/office/drawing/2014/main" id="{A14F3AF0-85A8-44F3-B58D-B7264E69F2E7}"/>
                </a:ext>
              </a:extLst>
            </p:cNvPr>
            <p:cNvSpPr>
              <a:spLocks noChangeArrowheads="1"/>
            </p:cNvSpPr>
            <p:nvPr/>
          </p:nvSpPr>
          <p:spPr bwMode="auto">
            <a:xfrm>
              <a:off x="-81508" y="7770303"/>
              <a:ext cx="143006" cy="141100"/>
            </a:xfrm>
            <a:prstGeom prst="rect">
              <a:avLst/>
            </a:prstGeom>
            <a:noFill/>
            <a:ln w="12700">
              <a:solidFill>
                <a:schemeClr val="tx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2" name="Rectangle 39">
              <a:extLst>
                <a:ext uri="{FF2B5EF4-FFF2-40B4-BE49-F238E27FC236}">
                  <a16:creationId xmlns:a16="http://schemas.microsoft.com/office/drawing/2014/main" id="{77CCAA86-A01D-4615-86B5-A78B507902A9}"/>
                </a:ext>
              </a:extLst>
            </p:cNvPr>
            <p:cNvSpPr>
              <a:spLocks noChangeArrowheads="1"/>
            </p:cNvSpPr>
            <p:nvPr/>
          </p:nvSpPr>
          <p:spPr bwMode="auto">
            <a:xfrm>
              <a:off x="-353616" y="7770281"/>
              <a:ext cx="144914" cy="141099"/>
            </a:xfrm>
            <a:prstGeom prst="rect">
              <a:avLst/>
            </a:prstGeom>
            <a:noFill/>
            <a:ln w="12700">
              <a:solidFill>
                <a:schemeClr val="tx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3" name="Line 40">
              <a:extLst>
                <a:ext uri="{FF2B5EF4-FFF2-40B4-BE49-F238E27FC236}">
                  <a16:creationId xmlns:a16="http://schemas.microsoft.com/office/drawing/2014/main" id="{00F17979-3168-4B49-A798-F4A100FD85A9}"/>
                </a:ext>
              </a:extLst>
            </p:cNvPr>
            <p:cNvSpPr>
              <a:spLocks noChangeShapeType="1"/>
            </p:cNvSpPr>
            <p:nvPr/>
          </p:nvSpPr>
          <p:spPr bwMode="auto">
            <a:xfrm flipH="1">
              <a:off x="-478243" y="7839877"/>
              <a:ext cx="124627" cy="0"/>
            </a:xfrm>
            <a:prstGeom prst="line">
              <a:avLst/>
            </a:prstGeom>
            <a:noFill/>
            <a:ln w="12700">
              <a:solidFill>
                <a:schemeClr val="tx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4" name="Line 40">
              <a:extLst>
                <a:ext uri="{FF2B5EF4-FFF2-40B4-BE49-F238E27FC236}">
                  <a16:creationId xmlns:a16="http://schemas.microsoft.com/office/drawing/2014/main" id="{BDC1809A-C06A-4412-8F6D-3D1E8D637FA4}"/>
                </a:ext>
              </a:extLst>
            </p:cNvPr>
            <p:cNvSpPr>
              <a:spLocks noChangeShapeType="1"/>
            </p:cNvSpPr>
            <p:nvPr/>
          </p:nvSpPr>
          <p:spPr bwMode="auto">
            <a:xfrm flipH="1">
              <a:off x="-208702" y="7839877"/>
              <a:ext cx="124627" cy="0"/>
            </a:xfrm>
            <a:prstGeom prst="line">
              <a:avLst/>
            </a:prstGeom>
            <a:noFill/>
            <a:ln w="12700">
              <a:solidFill>
                <a:schemeClr val="tx1"/>
              </a:solidFill>
              <a:headEnd type="none"/>
              <a:tailEnd type="none"/>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03316822-B7DF-4A01-9937-74DBD491BF54}"/>
              </a:ext>
            </a:extLst>
          </p:cNvPr>
          <p:cNvGrpSpPr/>
          <p:nvPr/>
        </p:nvGrpSpPr>
        <p:grpSpPr>
          <a:xfrm rot="18349339">
            <a:off x="6937564" y="2234895"/>
            <a:ext cx="1714484" cy="699297"/>
            <a:chOff x="959248" y="4094935"/>
            <a:chExt cx="1238497" cy="706953"/>
          </a:xfrm>
        </p:grpSpPr>
        <p:sp>
          <p:nvSpPr>
            <p:cNvPr id="426" name="Rectangle 425">
              <a:extLst>
                <a:ext uri="{FF2B5EF4-FFF2-40B4-BE49-F238E27FC236}">
                  <a16:creationId xmlns:a16="http://schemas.microsoft.com/office/drawing/2014/main" id="{5A0277DF-B38A-4B80-8F1D-FB90D1834427}"/>
                </a:ext>
              </a:extLst>
            </p:cNvPr>
            <p:cNvSpPr/>
            <p:nvPr/>
          </p:nvSpPr>
          <p:spPr>
            <a:xfrm>
              <a:off x="1080939" y="4301575"/>
              <a:ext cx="1112304" cy="46672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53535"/>
                  </a:solidFill>
                  <a:effectLst/>
                  <a:uLnTx/>
                  <a:uFillTx/>
                  <a:latin typeface="Segoe UI Semilight"/>
                  <a:ea typeface="Segoe UI" pitchFamily="34" charset="0"/>
                  <a:cs typeface="Segoe UI"/>
                </a:rPr>
                <a:t>Leveraging</a:t>
              </a:r>
              <a:br>
                <a:rPr kumimoji="0" lang="en-US" sz="1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br>
              <a:r>
                <a:rPr kumimoji="0" lang="en-US" sz="1000" b="0" i="0" u="none" strike="noStrike" kern="1200" cap="none" spc="0" normalizeH="0" baseline="0" noProof="0">
                  <a:ln>
                    <a:noFill/>
                  </a:ln>
                  <a:solidFill>
                    <a:srgbClr val="353535"/>
                  </a:solidFill>
                  <a:effectLst/>
                  <a:uLnTx/>
                  <a:uFillTx/>
                  <a:latin typeface="Segoe UI Semilight"/>
                  <a:ea typeface="Segoe UI" pitchFamily="34" charset="0"/>
                  <a:cs typeface="Segoe UI"/>
                </a:rPr>
                <a:t>Cloud </a:t>
              </a:r>
              <a:r>
                <a:rPr kumimoji="0" lang="en-US" altLang="ja-JP" sz="1000" b="0" i="0" u="none" strike="noStrike" kern="1200" cap="none" spc="0" normalizeH="0" baseline="0" noProof="0">
                  <a:ln>
                    <a:noFill/>
                  </a:ln>
                  <a:solidFill>
                    <a:srgbClr val="353535"/>
                  </a:solidFill>
                  <a:effectLst/>
                  <a:uLnTx/>
                  <a:uFillTx/>
                  <a:latin typeface="Segoe UI Semilight"/>
                  <a:ea typeface="Segoe UI" pitchFamily="34" charset="0"/>
                  <a:cs typeface="Segoe UI"/>
                </a:rPr>
                <a:t>Computing</a:t>
              </a:r>
              <a:endParaRPr kumimoji="0" lang="en-US" sz="1000" b="0" i="0" u="none" strike="noStrike" kern="1200" cap="none" spc="0" normalizeH="0" baseline="0" noProof="0">
                <a:ln>
                  <a:noFill/>
                </a:ln>
                <a:solidFill>
                  <a:srgbClr val="353535"/>
                </a:solidFill>
                <a:effectLst/>
                <a:uLnTx/>
                <a:uFillTx/>
                <a:latin typeface="Segoe UI Semilight"/>
                <a:ea typeface="Segoe UI" pitchFamily="34" charset="0"/>
                <a:cs typeface="Segoe UI"/>
              </a:endParaRPr>
            </a:p>
          </p:txBody>
        </p:sp>
        <p:sp>
          <p:nvSpPr>
            <p:cNvPr id="427" name="Freeform 67">
              <a:extLst>
                <a:ext uri="{FF2B5EF4-FFF2-40B4-BE49-F238E27FC236}">
                  <a16:creationId xmlns:a16="http://schemas.microsoft.com/office/drawing/2014/main" id="{F1AE9118-1E39-44A1-AE86-F941314E5635}"/>
                </a:ext>
              </a:extLst>
            </p:cNvPr>
            <p:cNvSpPr>
              <a:spLocks/>
            </p:cNvSpPr>
            <p:nvPr/>
          </p:nvSpPr>
          <p:spPr bwMode="auto">
            <a:xfrm>
              <a:off x="959248" y="4094935"/>
              <a:ext cx="1238497" cy="706953"/>
            </a:xfrm>
            <a:custGeom>
              <a:avLst/>
              <a:gdLst>
                <a:gd name="T0" fmla="*/ 733 w 892"/>
                <a:gd name="T1" fmla="*/ 181 h 499"/>
                <a:gd name="T2" fmla="*/ 607 w 892"/>
                <a:gd name="T3" fmla="*/ 121 h 499"/>
                <a:gd name="T4" fmla="*/ 606 w 892"/>
                <a:gd name="T5" fmla="*/ 121 h 499"/>
                <a:gd name="T6" fmla="*/ 451 w 892"/>
                <a:gd name="T7" fmla="*/ 0 h 499"/>
                <a:gd name="T8" fmla="*/ 326 w 892"/>
                <a:gd name="T9" fmla="*/ 60 h 499"/>
                <a:gd name="T10" fmla="*/ 269 w 892"/>
                <a:gd name="T11" fmla="*/ 49 h 499"/>
                <a:gd name="T12" fmla="*/ 110 w 892"/>
                <a:gd name="T13" fmla="*/ 190 h 499"/>
                <a:gd name="T14" fmla="*/ 0 w 892"/>
                <a:gd name="T15" fmla="*/ 340 h 499"/>
                <a:gd name="T16" fmla="*/ 161 w 892"/>
                <a:gd name="T17" fmla="*/ 499 h 499"/>
                <a:gd name="T18" fmla="*/ 731 w 892"/>
                <a:gd name="T19" fmla="*/ 499 h 499"/>
                <a:gd name="T20" fmla="*/ 892 w 892"/>
                <a:gd name="T21" fmla="*/ 340 h 499"/>
                <a:gd name="T22" fmla="*/ 733 w 892"/>
                <a:gd name="T23" fmla="*/ 18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2" h="499">
                  <a:moveTo>
                    <a:pt x="733" y="181"/>
                  </a:moveTo>
                  <a:cubicBezTo>
                    <a:pt x="703" y="144"/>
                    <a:pt x="658" y="121"/>
                    <a:pt x="607" y="121"/>
                  </a:cubicBezTo>
                  <a:cubicBezTo>
                    <a:pt x="607" y="121"/>
                    <a:pt x="607" y="121"/>
                    <a:pt x="606" y="121"/>
                  </a:cubicBezTo>
                  <a:cubicBezTo>
                    <a:pt x="589" y="52"/>
                    <a:pt x="526" y="0"/>
                    <a:pt x="451" y="0"/>
                  </a:cubicBezTo>
                  <a:cubicBezTo>
                    <a:pt x="400" y="0"/>
                    <a:pt x="355" y="23"/>
                    <a:pt x="326" y="60"/>
                  </a:cubicBezTo>
                  <a:cubicBezTo>
                    <a:pt x="308" y="53"/>
                    <a:pt x="289" y="49"/>
                    <a:pt x="269" y="49"/>
                  </a:cubicBezTo>
                  <a:cubicBezTo>
                    <a:pt x="187" y="49"/>
                    <a:pt x="119" y="111"/>
                    <a:pt x="110" y="190"/>
                  </a:cubicBezTo>
                  <a:cubicBezTo>
                    <a:pt x="46" y="211"/>
                    <a:pt x="0" y="270"/>
                    <a:pt x="0" y="340"/>
                  </a:cubicBezTo>
                  <a:cubicBezTo>
                    <a:pt x="0" y="428"/>
                    <a:pt x="72" y="499"/>
                    <a:pt x="161" y="499"/>
                  </a:cubicBezTo>
                  <a:cubicBezTo>
                    <a:pt x="731" y="499"/>
                    <a:pt x="731" y="499"/>
                    <a:pt x="731" y="499"/>
                  </a:cubicBezTo>
                  <a:cubicBezTo>
                    <a:pt x="820" y="499"/>
                    <a:pt x="892" y="428"/>
                    <a:pt x="892" y="340"/>
                  </a:cubicBezTo>
                  <a:cubicBezTo>
                    <a:pt x="892" y="253"/>
                    <a:pt x="821" y="182"/>
                    <a:pt x="733" y="181"/>
                  </a:cubicBezTo>
                  <a:close/>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7"/>
                </a:solidFill>
                <a:effectLst/>
                <a:uLnTx/>
                <a:uFillTx/>
                <a:latin typeface="Segoe UI Semilight"/>
                <a:ea typeface="+mn-ea"/>
                <a:cs typeface="+mn-cs"/>
              </a:endParaRPr>
            </a:p>
          </p:txBody>
        </p:sp>
      </p:grpSp>
      <p:grpSp>
        <p:nvGrpSpPr>
          <p:cNvPr id="24" name="Group 23">
            <a:extLst>
              <a:ext uri="{FF2B5EF4-FFF2-40B4-BE49-F238E27FC236}">
                <a16:creationId xmlns:a16="http://schemas.microsoft.com/office/drawing/2014/main" id="{E061286C-AE35-441B-A137-13890388FE40}"/>
              </a:ext>
            </a:extLst>
          </p:cNvPr>
          <p:cNvGrpSpPr/>
          <p:nvPr/>
        </p:nvGrpSpPr>
        <p:grpSpPr>
          <a:xfrm rot="3572260">
            <a:off x="10613957" y="1844629"/>
            <a:ext cx="1864313" cy="699297"/>
            <a:chOff x="959248" y="4094935"/>
            <a:chExt cx="1238497" cy="706953"/>
          </a:xfrm>
        </p:grpSpPr>
        <p:sp>
          <p:nvSpPr>
            <p:cNvPr id="429" name="Rectangle 428">
              <a:extLst>
                <a:ext uri="{FF2B5EF4-FFF2-40B4-BE49-F238E27FC236}">
                  <a16:creationId xmlns:a16="http://schemas.microsoft.com/office/drawing/2014/main" id="{D3D5C1CE-BC86-49BD-85E6-599156CA5930}"/>
                </a:ext>
              </a:extLst>
            </p:cNvPr>
            <p:cNvSpPr/>
            <p:nvPr/>
          </p:nvSpPr>
          <p:spPr>
            <a:xfrm>
              <a:off x="1080939" y="4301575"/>
              <a:ext cx="1112304" cy="46672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53535"/>
                  </a:solidFill>
                  <a:effectLst/>
                  <a:uLnTx/>
                  <a:uFillTx/>
                  <a:latin typeface="Segoe UI Semilight"/>
                  <a:ea typeface="Segoe UI" pitchFamily="34" charset="0"/>
                  <a:cs typeface="Segoe UI"/>
                </a:rPr>
                <a:t>Leveraging</a:t>
              </a:r>
              <a:br>
                <a:rPr kumimoji="0" lang="en-US" sz="1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br>
              <a:r>
                <a:rPr kumimoji="0" lang="en-US" sz="1000" b="0" i="0" u="none" strike="noStrike" kern="1200" cap="none" spc="0" normalizeH="0" baseline="0" noProof="0">
                  <a:ln>
                    <a:noFill/>
                  </a:ln>
                  <a:solidFill>
                    <a:srgbClr val="353535"/>
                  </a:solidFill>
                  <a:effectLst/>
                  <a:uLnTx/>
                  <a:uFillTx/>
                  <a:latin typeface="Segoe UI Semilight"/>
                  <a:ea typeface="Segoe UI" pitchFamily="34" charset="0"/>
                  <a:cs typeface="Segoe UI"/>
                </a:rPr>
                <a:t>Cloud </a:t>
              </a:r>
              <a:r>
                <a:rPr kumimoji="0" lang="en-US" altLang="ja-JP" sz="1000" b="0" i="0" u="none" strike="noStrike" kern="1200" cap="none" spc="0" normalizeH="0" baseline="0" noProof="0">
                  <a:ln>
                    <a:noFill/>
                  </a:ln>
                  <a:solidFill>
                    <a:srgbClr val="353535"/>
                  </a:solidFill>
                  <a:effectLst/>
                  <a:uLnTx/>
                  <a:uFillTx/>
                  <a:latin typeface="Segoe UI Semilight"/>
                  <a:ea typeface="Segoe UI" pitchFamily="34" charset="0"/>
                  <a:cs typeface="Segoe UI"/>
                </a:rPr>
                <a:t>Computing</a:t>
              </a:r>
              <a:endParaRPr kumimoji="0" lang="en-US" sz="1000" b="0" i="0" u="none" strike="noStrike" kern="1200" cap="none" spc="0" normalizeH="0" baseline="0" noProof="0">
                <a:ln>
                  <a:noFill/>
                </a:ln>
                <a:solidFill>
                  <a:srgbClr val="353535"/>
                </a:solidFill>
                <a:effectLst/>
                <a:uLnTx/>
                <a:uFillTx/>
                <a:latin typeface="Segoe UI Semilight"/>
                <a:ea typeface="Segoe UI" pitchFamily="34" charset="0"/>
                <a:cs typeface="Segoe UI"/>
              </a:endParaRPr>
            </a:p>
          </p:txBody>
        </p:sp>
        <p:sp>
          <p:nvSpPr>
            <p:cNvPr id="430" name="Freeform 67">
              <a:extLst>
                <a:ext uri="{FF2B5EF4-FFF2-40B4-BE49-F238E27FC236}">
                  <a16:creationId xmlns:a16="http://schemas.microsoft.com/office/drawing/2014/main" id="{15493E0D-3C74-4ABB-8F81-C27C389B3E0D}"/>
                </a:ext>
              </a:extLst>
            </p:cNvPr>
            <p:cNvSpPr>
              <a:spLocks/>
            </p:cNvSpPr>
            <p:nvPr/>
          </p:nvSpPr>
          <p:spPr bwMode="auto">
            <a:xfrm>
              <a:off x="959248" y="4094935"/>
              <a:ext cx="1238497" cy="706953"/>
            </a:xfrm>
            <a:custGeom>
              <a:avLst/>
              <a:gdLst>
                <a:gd name="T0" fmla="*/ 733 w 892"/>
                <a:gd name="T1" fmla="*/ 181 h 499"/>
                <a:gd name="T2" fmla="*/ 607 w 892"/>
                <a:gd name="T3" fmla="*/ 121 h 499"/>
                <a:gd name="T4" fmla="*/ 606 w 892"/>
                <a:gd name="T5" fmla="*/ 121 h 499"/>
                <a:gd name="T6" fmla="*/ 451 w 892"/>
                <a:gd name="T7" fmla="*/ 0 h 499"/>
                <a:gd name="T8" fmla="*/ 326 w 892"/>
                <a:gd name="T9" fmla="*/ 60 h 499"/>
                <a:gd name="T10" fmla="*/ 269 w 892"/>
                <a:gd name="T11" fmla="*/ 49 h 499"/>
                <a:gd name="T12" fmla="*/ 110 w 892"/>
                <a:gd name="T13" fmla="*/ 190 h 499"/>
                <a:gd name="T14" fmla="*/ 0 w 892"/>
                <a:gd name="T15" fmla="*/ 340 h 499"/>
                <a:gd name="T16" fmla="*/ 161 w 892"/>
                <a:gd name="T17" fmla="*/ 499 h 499"/>
                <a:gd name="T18" fmla="*/ 731 w 892"/>
                <a:gd name="T19" fmla="*/ 499 h 499"/>
                <a:gd name="T20" fmla="*/ 892 w 892"/>
                <a:gd name="T21" fmla="*/ 340 h 499"/>
                <a:gd name="T22" fmla="*/ 733 w 892"/>
                <a:gd name="T23" fmla="*/ 18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2" h="499">
                  <a:moveTo>
                    <a:pt x="733" y="181"/>
                  </a:moveTo>
                  <a:cubicBezTo>
                    <a:pt x="703" y="144"/>
                    <a:pt x="658" y="121"/>
                    <a:pt x="607" y="121"/>
                  </a:cubicBezTo>
                  <a:cubicBezTo>
                    <a:pt x="607" y="121"/>
                    <a:pt x="607" y="121"/>
                    <a:pt x="606" y="121"/>
                  </a:cubicBezTo>
                  <a:cubicBezTo>
                    <a:pt x="589" y="52"/>
                    <a:pt x="526" y="0"/>
                    <a:pt x="451" y="0"/>
                  </a:cubicBezTo>
                  <a:cubicBezTo>
                    <a:pt x="400" y="0"/>
                    <a:pt x="355" y="23"/>
                    <a:pt x="326" y="60"/>
                  </a:cubicBezTo>
                  <a:cubicBezTo>
                    <a:pt x="308" y="53"/>
                    <a:pt x="289" y="49"/>
                    <a:pt x="269" y="49"/>
                  </a:cubicBezTo>
                  <a:cubicBezTo>
                    <a:pt x="187" y="49"/>
                    <a:pt x="119" y="111"/>
                    <a:pt x="110" y="190"/>
                  </a:cubicBezTo>
                  <a:cubicBezTo>
                    <a:pt x="46" y="211"/>
                    <a:pt x="0" y="270"/>
                    <a:pt x="0" y="340"/>
                  </a:cubicBezTo>
                  <a:cubicBezTo>
                    <a:pt x="0" y="428"/>
                    <a:pt x="72" y="499"/>
                    <a:pt x="161" y="499"/>
                  </a:cubicBezTo>
                  <a:cubicBezTo>
                    <a:pt x="731" y="499"/>
                    <a:pt x="731" y="499"/>
                    <a:pt x="731" y="499"/>
                  </a:cubicBezTo>
                  <a:cubicBezTo>
                    <a:pt x="820" y="499"/>
                    <a:pt x="892" y="428"/>
                    <a:pt x="892" y="340"/>
                  </a:cubicBezTo>
                  <a:cubicBezTo>
                    <a:pt x="892" y="253"/>
                    <a:pt x="821" y="182"/>
                    <a:pt x="733" y="181"/>
                  </a:cubicBezTo>
                  <a:close/>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7"/>
                </a:solidFill>
                <a:effectLst/>
                <a:uLnTx/>
                <a:uFillTx/>
                <a:latin typeface="Segoe UI Semilight"/>
                <a:ea typeface="+mn-ea"/>
                <a:cs typeface="+mn-cs"/>
              </a:endParaRPr>
            </a:p>
          </p:txBody>
        </p:sp>
      </p:grpSp>
      <p:grpSp>
        <p:nvGrpSpPr>
          <p:cNvPr id="25" name="Group 24">
            <a:extLst>
              <a:ext uri="{FF2B5EF4-FFF2-40B4-BE49-F238E27FC236}">
                <a16:creationId xmlns:a16="http://schemas.microsoft.com/office/drawing/2014/main" id="{89E19E82-9392-418D-B575-47783A4188C7}"/>
              </a:ext>
            </a:extLst>
          </p:cNvPr>
          <p:cNvGrpSpPr/>
          <p:nvPr/>
        </p:nvGrpSpPr>
        <p:grpSpPr>
          <a:xfrm>
            <a:off x="10489255" y="2396969"/>
            <a:ext cx="543759" cy="345774"/>
            <a:chOff x="7615233" y="7724764"/>
            <a:chExt cx="911229" cy="579448"/>
          </a:xfrm>
          <a:noFill/>
        </p:grpSpPr>
        <p:sp>
          <p:nvSpPr>
            <p:cNvPr id="432" name="Oval 78">
              <a:extLst>
                <a:ext uri="{FF2B5EF4-FFF2-40B4-BE49-F238E27FC236}">
                  <a16:creationId xmlns:a16="http://schemas.microsoft.com/office/drawing/2014/main" id="{EE04DECD-BBAB-4984-9F50-E59CB54341EF}"/>
                </a:ext>
              </a:extLst>
            </p:cNvPr>
            <p:cNvSpPr>
              <a:spLocks noChangeArrowheads="1"/>
            </p:cNvSpPr>
            <p:nvPr/>
          </p:nvSpPr>
          <p:spPr bwMode="auto">
            <a:xfrm>
              <a:off x="8288334" y="7756514"/>
              <a:ext cx="173038" cy="174625"/>
            </a:xfrm>
            <a:prstGeom prst="ellipse">
              <a:avLst/>
            </a:pr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33" name="Freeform 79">
              <a:extLst>
                <a:ext uri="{FF2B5EF4-FFF2-40B4-BE49-F238E27FC236}">
                  <a16:creationId xmlns:a16="http://schemas.microsoft.com/office/drawing/2014/main" id="{095DFF84-0EDE-4D47-9C47-0B82FA720D4C}"/>
                </a:ext>
              </a:extLst>
            </p:cNvPr>
            <p:cNvSpPr>
              <a:spLocks/>
            </p:cNvSpPr>
            <p:nvPr/>
          </p:nvSpPr>
          <p:spPr bwMode="auto">
            <a:xfrm>
              <a:off x="8223250" y="7931138"/>
              <a:ext cx="303212" cy="155574"/>
            </a:xfrm>
            <a:custGeom>
              <a:avLst/>
              <a:gdLst>
                <a:gd name="T0" fmla="*/ 182 w 182"/>
                <a:gd name="T1" fmla="*/ 91 h 91"/>
                <a:gd name="T2" fmla="*/ 91 w 182"/>
                <a:gd name="T3" fmla="*/ 0 h 91"/>
                <a:gd name="T4" fmla="*/ 0 w 182"/>
                <a:gd name="T5" fmla="*/ 91 h 91"/>
              </a:gdLst>
              <a:ahLst/>
              <a:cxnLst>
                <a:cxn ang="0">
                  <a:pos x="T0" y="T1"/>
                </a:cxn>
                <a:cxn ang="0">
                  <a:pos x="T2" y="T3"/>
                </a:cxn>
                <a:cxn ang="0">
                  <a:pos x="T4" y="T5"/>
                </a:cxn>
              </a:cxnLst>
              <a:rect l="0" t="0" r="r" b="b"/>
              <a:pathLst>
                <a:path w="182" h="91">
                  <a:moveTo>
                    <a:pt x="182" y="91"/>
                  </a:moveTo>
                  <a:cubicBezTo>
                    <a:pt x="182" y="40"/>
                    <a:pt x="142" y="0"/>
                    <a:pt x="91" y="0"/>
                  </a:cubicBezTo>
                  <a:cubicBezTo>
                    <a:pt x="41" y="0"/>
                    <a:pt x="0" y="40"/>
                    <a:pt x="0" y="91"/>
                  </a:cubicBez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34" name="Oval 80">
              <a:extLst>
                <a:ext uri="{FF2B5EF4-FFF2-40B4-BE49-F238E27FC236}">
                  <a16:creationId xmlns:a16="http://schemas.microsoft.com/office/drawing/2014/main" id="{80343BFD-BFA7-454D-8F27-F449EE849F5D}"/>
                </a:ext>
              </a:extLst>
            </p:cNvPr>
            <p:cNvSpPr>
              <a:spLocks noChangeArrowheads="1"/>
            </p:cNvSpPr>
            <p:nvPr/>
          </p:nvSpPr>
          <p:spPr bwMode="auto">
            <a:xfrm>
              <a:off x="7680324" y="7756514"/>
              <a:ext cx="173038" cy="174625"/>
            </a:xfrm>
            <a:prstGeom prst="ellipse">
              <a:avLst/>
            </a:pr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35" name="Freeform 81">
              <a:extLst>
                <a:ext uri="{FF2B5EF4-FFF2-40B4-BE49-F238E27FC236}">
                  <a16:creationId xmlns:a16="http://schemas.microsoft.com/office/drawing/2014/main" id="{6710E44F-7E2F-4663-BEBD-81030662057F}"/>
                </a:ext>
              </a:extLst>
            </p:cNvPr>
            <p:cNvSpPr>
              <a:spLocks/>
            </p:cNvSpPr>
            <p:nvPr/>
          </p:nvSpPr>
          <p:spPr bwMode="auto">
            <a:xfrm>
              <a:off x="7615233" y="7931138"/>
              <a:ext cx="303212" cy="155574"/>
            </a:xfrm>
            <a:custGeom>
              <a:avLst/>
              <a:gdLst>
                <a:gd name="T0" fmla="*/ 182 w 182"/>
                <a:gd name="T1" fmla="*/ 91 h 91"/>
                <a:gd name="T2" fmla="*/ 91 w 182"/>
                <a:gd name="T3" fmla="*/ 0 h 91"/>
                <a:gd name="T4" fmla="*/ 0 w 182"/>
                <a:gd name="T5" fmla="*/ 91 h 91"/>
              </a:gdLst>
              <a:ahLst/>
              <a:cxnLst>
                <a:cxn ang="0">
                  <a:pos x="T0" y="T1"/>
                </a:cxn>
                <a:cxn ang="0">
                  <a:pos x="T2" y="T3"/>
                </a:cxn>
                <a:cxn ang="0">
                  <a:pos x="T4" y="T5"/>
                </a:cxn>
              </a:cxnLst>
              <a:rect l="0" t="0" r="r" b="b"/>
              <a:pathLst>
                <a:path w="182" h="91">
                  <a:moveTo>
                    <a:pt x="182" y="91"/>
                  </a:moveTo>
                  <a:cubicBezTo>
                    <a:pt x="182" y="40"/>
                    <a:pt x="142" y="0"/>
                    <a:pt x="91" y="0"/>
                  </a:cubicBezTo>
                  <a:cubicBezTo>
                    <a:pt x="41" y="0"/>
                    <a:pt x="0" y="40"/>
                    <a:pt x="0" y="91"/>
                  </a:cubicBez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36" name="Oval 82">
              <a:extLst>
                <a:ext uri="{FF2B5EF4-FFF2-40B4-BE49-F238E27FC236}">
                  <a16:creationId xmlns:a16="http://schemas.microsoft.com/office/drawing/2014/main" id="{B0380DDC-D60E-4D26-9407-B77DB1E928BB}"/>
                </a:ext>
              </a:extLst>
            </p:cNvPr>
            <p:cNvSpPr>
              <a:spLocks noChangeArrowheads="1"/>
            </p:cNvSpPr>
            <p:nvPr/>
          </p:nvSpPr>
          <p:spPr bwMode="auto">
            <a:xfrm>
              <a:off x="7918446" y="7724764"/>
              <a:ext cx="304799" cy="307974"/>
            </a:xfrm>
            <a:prstGeom prst="ellipse">
              <a:avLst/>
            </a:pr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37" name="Freeform 83">
              <a:extLst>
                <a:ext uri="{FF2B5EF4-FFF2-40B4-BE49-F238E27FC236}">
                  <a16:creationId xmlns:a16="http://schemas.microsoft.com/office/drawing/2014/main" id="{1BCC0E80-9C72-4766-9BDF-9DC7F8E357D7}"/>
                </a:ext>
              </a:extLst>
            </p:cNvPr>
            <p:cNvSpPr>
              <a:spLocks/>
            </p:cNvSpPr>
            <p:nvPr/>
          </p:nvSpPr>
          <p:spPr bwMode="auto">
            <a:xfrm>
              <a:off x="7805738" y="8032750"/>
              <a:ext cx="531813" cy="271462"/>
            </a:xfrm>
            <a:custGeom>
              <a:avLst/>
              <a:gdLst>
                <a:gd name="T0" fmla="*/ 320 w 320"/>
                <a:gd name="T1" fmla="*/ 160 h 160"/>
                <a:gd name="T2" fmla="*/ 160 w 320"/>
                <a:gd name="T3" fmla="*/ 0 h 160"/>
                <a:gd name="T4" fmla="*/ 0 w 320"/>
                <a:gd name="T5" fmla="*/ 160 h 160"/>
              </a:gdLst>
              <a:ahLst/>
              <a:cxnLst>
                <a:cxn ang="0">
                  <a:pos x="T0" y="T1"/>
                </a:cxn>
                <a:cxn ang="0">
                  <a:pos x="T2" y="T3"/>
                </a:cxn>
                <a:cxn ang="0">
                  <a:pos x="T4" y="T5"/>
                </a:cxn>
              </a:cxnLst>
              <a:rect l="0" t="0" r="r" b="b"/>
              <a:pathLst>
                <a:path w="320" h="160">
                  <a:moveTo>
                    <a:pt x="320" y="160"/>
                  </a:moveTo>
                  <a:cubicBezTo>
                    <a:pt x="320" y="72"/>
                    <a:pt x="248" y="0"/>
                    <a:pt x="160" y="0"/>
                  </a:cubicBezTo>
                  <a:cubicBezTo>
                    <a:pt x="72" y="0"/>
                    <a:pt x="0" y="72"/>
                    <a:pt x="0" y="160"/>
                  </a:cubicBez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402378566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C9FB9D-33AF-4EDD-A39C-5F7F84BAB9BA}"/>
              </a:ext>
            </a:extLst>
          </p:cNvPr>
          <p:cNvSpPr>
            <a:spLocks noGrp="1"/>
          </p:cNvSpPr>
          <p:nvPr>
            <p:ph type="sldNum" sz="quarter" idx="20"/>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60" rtl="0" eaLnBrk="1" fontAlgn="auto" latinLnBrk="0" hangingPunct="1">
                <a:lnSpc>
                  <a:spcPct val="100000"/>
                </a:lnSpc>
                <a:spcBef>
                  <a:spcPts val="0"/>
                </a:spcBef>
                <a:spcAft>
                  <a:spcPts val="0"/>
                </a:spcAft>
                <a:buClrTx/>
                <a:buSzTx/>
                <a:buFontTx/>
                <a:buNone/>
                <a:tabLst/>
                <a:defRPr/>
              </a:pPr>
              <a:t>3</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sp>
        <p:nvSpPr>
          <p:cNvPr id="4" name="Title 3">
            <a:extLst>
              <a:ext uri="{FF2B5EF4-FFF2-40B4-BE49-F238E27FC236}">
                <a16:creationId xmlns:a16="http://schemas.microsoft.com/office/drawing/2014/main" id="{987B3835-1996-4477-AA0B-36003A307EB9}"/>
              </a:ext>
            </a:extLst>
          </p:cNvPr>
          <p:cNvSpPr txBox="1">
            <a:spLocks/>
          </p:cNvSpPr>
          <p:nvPr/>
        </p:nvSpPr>
        <p:spPr>
          <a:xfrm>
            <a:off x="375427" y="260231"/>
            <a:ext cx="11061701"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The Shift by Consumers deepens</a:t>
            </a:r>
          </a:p>
        </p:txBody>
      </p:sp>
      <p:pic>
        <p:nvPicPr>
          <p:cNvPr id="5" name="Picture 2" descr="Specific nonbanks people would bank with">
            <a:extLst>
              <a:ext uri="{FF2B5EF4-FFF2-40B4-BE49-F238E27FC236}">
                <a16:creationId xmlns:a16="http://schemas.microsoft.com/office/drawing/2014/main" id="{1A9884F7-ADFA-474F-B665-EAE5A4B711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875" y="1584325"/>
            <a:ext cx="5572125" cy="5057775"/>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26EB145B-6FF2-482A-830B-5C9EC2F8A690}"/>
              </a:ext>
            </a:extLst>
          </p:cNvPr>
          <p:cNvSpPr txBox="1">
            <a:spLocks/>
          </p:cNvSpPr>
          <p:nvPr/>
        </p:nvSpPr>
        <p:spPr>
          <a:xfrm>
            <a:off x="6581243" y="1584325"/>
            <a:ext cx="5243876" cy="692206"/>
          </a:xfrm>
          <a:prstGeom prst="rect">
            <a:avLst/>
          </a:prstGeom>
        </p:spPr>
        <p:txBody>
          <a:bodyPr vert="horz" lIns="0" tIns="45720" rIns="0" bIns="45720" rtlCol="0">
            <a:noAutofit/>
          </a:bodyPr>
          <a:lstStyle>
            <a:lvl1pPr marL="198232" indent="-198232" algn="l" rtl="0" eaLnBrk="1" fontAlgn="base" hangingPunct="1">
              <a:spcBef>
                <a:spcPts val="900"/>
              </a:spcBef>
              <a:spcAft>
                <a:spcPct val="0"/>
              </a:spcAft>
              <a:buClr>
                <a:schemeClr val="tx1"/>
              </a:buClr>
              <a:buFontTx/>
              <a:buNone/>
              <a:defRPr sz="2700" kern="1200">
                <a:solidFill>
                  <a:schemeClr val="accent2"/>
                </a:soli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807211" indent="-411939" algn="l" rtl="0" eaLnBrk="1" fontAlgn="base" hangingPunct="1">
              <a:spcBef>
                <a:spcPts val="900"/>
              </a:spcBef>
              <a:spcAft>
                <a:spcPct val="0"/>
              </a:spcAft>
              <a:buFont typeface="Arial" pitchFamily="34" charset="0"/>
              <a:buChar char="–"/>
              <a:defRPr sz="2925" kern="1200">
                <a:solidFill>
                  <a:schemeClr val="tx1"/>
                </a:soli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1204863" indent="-397653" algn="l" rtl="0" eaLnBrk="1" fontAlgn="base" hangingPunct="1">
              <a:spcBef>
                <a:spcPts val="900"/>
              </a:spcBef>
              <a:spcAft>
                <a:spcPct val="0"/>
              </a:spcAft>
              <a:buFont typeface="Arial" pitchFamily="34" charset="0"/>
              <a:buChar char="•"/>
              <a:defRPr sz="2700" kern="1200">
                <a:solidFill>
                  <a:schemeClr val="tx1"/>
                </a:soli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1614421" indent="-409557" algn="l" rtl="0" eaLnBrk="1" fontAlgn="base" hangingPunct="1">
              <a:spcBef>
                <a:spcPts val="900"/>
              </a:spcBef>
              <a:spcAft>
                <a:spcPct val="0"/>
              </a:spcAft>
              <a:buFont typeface="Arial" pitchFamily="34" charset="0"/>
              <a:buChar char="–"/>
              <a:defRPr sz="2474" kern="1200">
                <a:solidFill>
                  <a:schemeClr val="tx1"/>
                </a:soli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2012074" indent="-397653" algn="l" rtl="0" eaLnBrk="1" fontAlgn="base" hangingPunct="1">
              <a:spcBef>
                <a:spcPts val="900"/>
              </a:spcBef>
              <a:spcAft>
                <a:spcPct val="0"/>
              </a:spcAft>
              <a:buFont typeface="Arial" pitchFamily="34" charset="0"/>
              <a:buChar char="•"/>
              <a:defRPr sz="2251" kern="1200">
                <a:solidFill>
                  <a:schemeClr val="tx1"/>
                </a:solidFill>
                <a:latin typeface="Segoe UI Semilight" panose="020B0402040204020203" pitchFamily="34" charset="0"/>
                <a:ea typeface="Segoe UI Semilight" panose="020B0402040204020203" pitchFamily="34" charset="0"/>
                <a:cs typeface="Segoe UI Semilight" panose="020B0402040204020203" pitchFamily="34" charset="0"/>
              </a:defRPr>
            </a:lvl5pPr>
            <a:lvl6pPr marL="3771744" indent="-342885" algn="l" defTabSz="1371544" rtl="0" eaLnBrk="1" latinLnBrk="0" hangingPunct="1">
              <a:spcBef>
                <a:spcPct val="20000"/>
              </a:spcBef>
              <a:buFont typeface="Arial" pitchFamily="34" charset="0"/>
              <a:buChar char="•"/>
              <a:defRPr sz="3001" kern="1200">
                <a:solidFill>
                  <a:schemeClr val="tx1"/>
                </a:solidFill>
                <a:latin typeface="+mn-lt"/>
                <a:ea typeface="+mn-ea"/>
                <a:cs typeface="+mn-cs"/>
              </a:defRPr>
            </a:lvl6pPr>
            <a:lvl7pPr marL="4457516" indent="-342885" algn="l" defTabSz="1371544" rtl="0" eaLnBrk="1" latinLnBrk="0" hangingPunct="1">
              <a:spcBef>
                <a:spcPct val="20000"/>
              </a:spcBef>
              <a:buFont typeface="Arial" pitchFamily="34" charset="0"/>
              <a:buChar char="•"/>
              <a:defRPr sz="3001" kern="1200">
                <a:solidFill>
                  <a:schemeClr val="tx1"/>
                </a:solidFill>
                <a:latin typeface="+mn-lt"/>
                <a:ea typeface="+mn-ea"/>
                <a:cs typeface="+mn-cs"/>
              </a:defRPr>
            </a:lvl7pPr>
            <a:lvl8pPr marL="5143287" indent="-342885" algn="l" defTabSz="1371544" rtl="0" eaLnBrk="1" latinLnBrk="0" hangingPunct="1">
              <a:spcBef>
                <a:spcPct val="20000"/>
              </a:spcBef>
              <a:buFont typeface="Arial" pitchFamily="34" charset="0"/>
              <a:buChar char="•"/>
              <a:defRPr sz="3001" kern="1200">
                <a:solidFill>
                  <a:schemeClr val="tx1"/>
                </a:solidFill>
                <a:latin typeface="+mn-lt"/>
                <a:ea typeface="+mn-ea"/>
                <a:cs typeface="+mn-cs"/>
              </a:defRPr>
            </a:lvl8pPr>
            <a:lvl9pPr marL="5829058" indent="-342885" algn="l" defTabSz="1371544" rtl="0" eaLnBrk="1" latinLnBrk="0" hangingPunct="1">
              <a:spcBef>
                <a:spcPct val="20000"/>
              </a:spcBef>
              <a:buFont typeface="Arial" pitchFamily="34" charset="0"/>
              <a:buChar char="•"/>
              <a:defRPr sz="3001" kern="1200">
                <a:solidFill>
                  <a:schemeClr val="tx1"/>
                </a:solidFill>
                <a:latin typeface="+mn-lt"/>
                <a:ea typeface="+mn-ea"/>
                <a:cs typeface="+mn-cs"/>
              </a:defRPr>
            </a:lvl9pPr>
          </a:lstStyle>
          <a:p>
            <a:pPr marL="198232" marR="0" lvl="0" indent="-198232" algn="ctr" defTabSz="914400" rtl="0" eaLnBrk="1" fontAlgn="base" latinLnBrk="0" hangingPunct="1">
              <a:lnSpc>
                <a:spcPct val="100000"/>
              </a:lnSpc>
              <a:spcBef>
                <a:spcPts val="900"/>
              </a:spcBef>
              <a:spcAft>
                <a:spcPct val="0"/>
              </a:spcAft>
              <a:buClr>
                <a:srgbClr val="000000"/>
              </a:buClr>
              <a:buSzTx/>
              <a:buFontTx/>
              <a:buNone/>
              <a:tabLst/>
              <a:defRPr/>
            </a:pPr>
            <a:r>
              <a:rPr kumimoji="0" lang="en-US" sz="1400" b="0" i="0" u="none" strike="noStrike" kern="1200" cap="none" spc="0" normalizeH="0" baseline="0" noProof="0">
                <a:ln>
                  <a:noFill/>
                </a:ln>
                <a:solidFill>
                  <a:srgbClr val="002266"/>
                </a:solidFill>
                <a:effectLst/>
                <a:uLnTx/>
                <a:uFillTx/>
                <a:latin typeface="Segoe UI Semilight" panose="020B0402040204020203" pitchFamily="34" charset="0"/>
                <a:cs typeface="Segoe UI Semilight" panose="020B0402040204020203" pitchFamily="34" charset="0"/>
              </a:rPr>
              <a:t>And the reasons why directly point to the issues that Covid has highlighted and banks grapple with in general</a:t>
            </a:r>
          </a:p>
        </p:txBody>
      </p:sp>
      <p:pic>
        <p:nvPicPr>
          <p:cNvPr id="7" name="Picture 4" descr="Why people would bank with big tech nonbank">
            <a:extLst>
              <a:ext uri="{FF2B5EF4-FFF2-40B4-BE49-F238E27FC236}">
                <a16:creationId xmlns:a16="http://schemas.microsoft.com/office/drawing/2014/main" id="{00E62900-188A-4DF8-A3FD-08941C3B4A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6505" y="2244012"/>
            <a:ext cx="5572125" cy="4234533"/>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1">
            <a:extLst>
              <a:ext uri="{FF2B5EF4-FFF2-40B4-BE49-F238E27FC236}">
                <a16:creationId xmlns:a16="http://schemas.microsoft.com/office/drawing/2014/main" id="{E9DF91A8-F0A3-4798-96D9-23027F24E907}"/>
              </a:ext>
            </a:extLst>
          </p:cNvPr>
          <p:cNvSpPr txBox="1">
            <a:spLocks/>
          </p:cNvSpPr>
          <p:nvPr/>
        </p:nvSpPr>
        <p:spPr>
          <a:xfrm>
            <a:off x="662402" y="1137285"/>
            <a:ext cx="5243876" cy="686850"/>
          </a:xfrm>
          <a:prstGeom prst="rect">
            <a:avLst/>
          </a:prstGeom>
        </p:spPr>
        <p:txBody>
          <a:bodyPr>
            <a:spAutoFit/>
          </a:bodyPr>
          <a:lstStyle>
            <a:defPPr>
              <a:defRPr lang="en-US"/>
            </a:defPPr>
            <a:lvl1pPr marL="0" algn="l" defTabSz="914460" rtl="0" eaLnBrk="1" latinLnBrk="0" hangingPunct="1">
              <a:defRPr sz="1000" kern="1200">
                <a:solidFill>
                  <a:schemeClr val="bg1">
                    <a:lumMod val="50000"/>
                  </a:schemeClr>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a:lstStyle>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Segoe UI"/>
                <a:ea typeface="+mn-ea"/>
                <a:cs typeface="+mn-cs"/>
              </a:rPr>
              <a:t>Technology companies as banks are generally attractive, especially to younger generations</a:t>
            </a:r>
          </a:p>
        </p:txBody>
      </p:sp>
    </p:spTree>
    <p:extLst>
      <p:ext uri="{BB962C8B-B14F-4D97-AF65-F5344CB8AC3E}">
        <p14:creationId xmlns:p14="http://schemas.microsoft.com/office/powerpoint/2010/main" val="357861354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850250" y="1876798"/>
            <a:ext cx="10465450" cy="4000000"/>
          </a:xfrm>
          <a:prstGeom prst="rect">
            <a:avLst/>
          </a:prstGeom>
          <a:ln w="57150">
            <a:noFill/>
          </a:ln>
        </p:spPr>
        <p:txBody>
          <a:bodyPr vert="horz" lIns="91440" tIns="45720" rIns="91440" bIns="45720" numCol="1" rtlCol="0" anchor="t">
            <a:normAutofit/>
          </a:bodyPr>
          <a:lstStyle/>
          <a:p>
            <a:pPr marL="0" indent="0">
              <a:lnSpc>
                <a:spcPct val="150000"/>
              </a:lnSpc>
              <a:spcBef>
                <a:spcPts val="0"/>
              </a:spcBef>
              <a:buFont typeface="Arial" panose="020B0604020202020204" pitchFamily="34" charset="0"/>
              <a:buNone/>
            </a:pPr>
            <a:r>
              <a:rPr lang="en-US" sz="1400" dirty="0">
                <a:solidFill>
                  <a:schemeClr val="tx1">
                    <a:lumMod val="65000"/>
                    <a:lumOff val="35000"/>
                  </a:schemeClr>
                </a:solidFill>
                <a:latin typeface="Segoe UI Semilight" panose="020B0402040204020203" pitchFamily="34" charset="0"/>
                <a:ea typeface="Segoe UI" panose="020B0502040204020203" pitchFamily="34" charset="0"/>
                <a:cs typeface="Segoe UI Semilight" panose="020B0402040204020203" pitchFamily="34" charset="0"/>
              </a:rPr>
              <a:t>Digital currency is a type of currency available in digital form. It exhibits properties similar to physical currencies, but can allow for instantaneous transactions and borderless transfer-of-ownership. Examples include virtual currencies, cryptocurrencies, and central bank digital currency. These currencies may be used to buy physical goods and services, but may also be restricted to certain communities such as for use inside an online game.</a:t>
            </a:r>
          </a:p>
        </p:txBody>
      </p:sp>
      <p:sp>
        <p:nvSpPr>
          <p:cNvPr id="9" name="Title 8">
            <a:extLst>
              <a:ext uri="{FF2B5EF4-FFF2-40B4-BE49-F238E27FC236}">
                <a16:creationId xmlns:a16="http://schemas.microsoft.com/office/drawing/2014/main" id="{27E4EE19-BDEB-FE95-28C8-E9AB7C1C6747}"/>
              </a:ext>
            </a:extLst>
          </p:cNvPr>
          <p:cNvSpPr>
            <a:spLocks noGrp="1"/>
          </p:cNvSpPr>
          <p:nvPr>
            <p:ph type="title"/>
          </p:nvPr>
        </p:nvSpPr>
        <p:spPr>
          <a:xfrm>
            <a:off x="896890" y="387299"/>
            <a:ext cx="10515600" cy="822263"/>
          </a:xfrm>
        </p:spPr>
        <p:txBody>
          <a:bodyPr/>
          <a:lstStyle/>
          <a:p>
            <a:r>
              <a:rPr lang="en-SG" dirty="0">
                <a:solidFill>
                  <a:srgbClr val="00B0F0"/>
                </a:solidFill>
              </a:rPr>
              <a:t>Digital Currencies</a:t>
            </a:r>
          </a:p>
        </p:txBody>
      </p:sp>
    </p:spTree>
    <p:extLst>
      <p:ext uri="{BB962C8B-B14F-4D97-AF65-F5344CB8AC3E}">
        <p14:creationId xmlns:p14="http://schemas.microsoft.com/office/powerpoint/2010/main" val="3748667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DA537-9EAD-4C2A-8B8C-B5471C6F5D65}"/>
              </a:ext>
            </a:extLst>
          </p:cNvPr>
          <p:cNvSpPr>
            <a:spLocks noGrp="1"/>
          </p:cNvSpPr>
          <p:nvPr>
            <p:ph type="title"/>
          </p:nvPr>
        </p:nvSpPr>
        <p:spPr/>
        <p:txBody>
          <a:bodyPr/>
          <a:lstStyle/>
          <a:p>
            <a:r>
              <a:rPr lang="en-US" dirty="0">
                <a:solidFill>
                  <a:srgbClr val="00B0F0"/>
                </a:solidFill>
                <a:latin typeface="Segoe UI Light" panose="020B0702040204020203" pitchFamily="34" charset="0"/>
                <a:ea typeface="Segoe UI Light" panose="020B0702040204020203" pitchFamily="34" charset="0"/>
                <a:cs typeface="Segoe UI" panose="020B0502040204020203" pitchFamily="34" charset="0"/>
              </a:rPr>
              <a:t>Related topics to research</a:t>
            </a:r>
          </a:p>
        </p:txBody>
      </p:sp>
      <p:sp>
        <p:nvSpPr>
          <p:cNvPr id="3" name="Content Placeholder 2">
            <a:extLst>
              <a:ext uri="{FF2B5EF4-FFF2-40B4-BE49-F238E27FC236}">
                <a16:creationId xmlns:a16="http://schemas.microsoft.com/office/drawing/2014/main" id="{60106C6B-49E2-4E93-AEC3-AA4886AC999D}"/>
              </a:ext>
            </a:extLst>
          </p:cNvPr>
          <p:cNvSpPr>
            <a:spLocks noGrp="1"/>
          </p:cNvSpPr>
          <p:nvPr>
            <p:ph idx="1"/>
          </p:nvPr>
        </p:nvSpPr>
        <p:spPr>
          <a:xfrm>
            <a:off x="838200" y="1625936"/>
            <a:ext cx="4978408" cy="4351338"/>
          </a:xfrm>
        </p:spPr>
        <p:txBody>
          <a:bodyPr/>
          <a:lstStyle/>
          <a:p>
            <a:r>
              <a:rPr lang="en-US" dirty="0">
                <a:latin typeface="Segoe UI Semilight" panose="020B0702040204020203" pitchFamily="34" charset="0"/>
                <a:ea typeface="Segoe UI Semilight" panose="020B0702040204020203" pitchFamily="34" charset="0"/>
                <a:cs typeface="Segoe UI" panose="020B0502040204020203" pitchFamily="34" charset="0"/>
              </a:rPr>
              <a:t>Blockchain</a:t>
            </a:r>
          </a:p>
          <a:p>
            <a:r>
              <a:rPr lang="en-US" dirty="0">
                <a:latin typeface="Segoe UI Semilight" panose="020B0702040204020203" pitchFamily="34" charset="0"/>
                <a:ea typeface="Segoe UI Semilight" panose="020B0702040204020203" pitchFamily="34" charset="0"/>
                <a:cs typeface="Segoe UI" panose="020B0502040204020203" pitchFamily="34" charset="0"/>
              </a:rPr>
              <a:t>Cryptocurrency exchange</a:t>
            </a:r>
          </a:p>
          <a:p>
            <a:r>
              <a:rPr lang="en-US" dirty="0">
                <a:latin typeface="Segoe UI Semilight" panose="020B0702040204020203" pitchFamily="34" charset="0"/>
                <a:ea typeface="Segoe UI Semilight" panose="020B0702040204020203" pitchFamily="34" charset="0"/>
                <a:cs typeface="Segoe UI" panose="020B0502040204020203" pitchFamily="34" charset="0"/>
              </a:rPr>
              <a:t>Ripple</a:t>
            </a:r>
          </a:p>
          <a:p>
            <a:r>
              <a:rPr lang="en-US" dirty="0">
                <a:latin typeface="Segoe UI Semilight" panose="020B0702040204020203" pitchFamily="34" charset="0"/>
                <a:ea typeface="Segoe UI Semilight" panose="020B0702040204020203" pitchFamily="34" charset="0"/>
                <a:cs typeface="Segoe UI" panose="020B0502040204020203" pitchFamily="34" charset="0"/>
              </a:rPr>
              <a:t>Cashless society</a:t>
            </a:r>
          </a:p>
          <a:p>
            <a:r>
              <a:rPr lang="en-US" dirty="0">
                <a:latin typeface="Segoe UI Semilight" panose="020B0702040204020203" pitchFamily="34" charset="0"/>
                <a:ea typeface="Segoe UI Semilight" panose="020B0702040204020203" pitchFamily="34" charset="0"/>
                <a:cs typeface="Segoe UI" panose="020B0502040204020203" pitchFamily="34" charset="0"/>
              </a:rPr>
              <a:t>DigiCash</a:t>
            </a:r>
          </a:p>
          <a:p>
            <a:r>
              <a:rPr lang="en-US" dirty="0">
                <a:latin typeface="Segoe UI Semilight" panose="020B0702040204020203" pitchFamily="34" charset="0"/>
                <a:ea typeface="Segoe UI Semilight" panose="020B0702040204020203" pitchFamily="34" charset="0"/>
                <a:cs typeface="Segoe UI" panose="020B0502040204020203" pitchFamily="34" charset="0"/>
              </a:rPr>
              <a:t>Litecoin</a:t>
            </a:r>
          </a:p>
          <a:p>
            <a:r>
              <a:rPr lang="en-US" dirty="0">
                <a:latin typeface="Segoe UI Semilight" panose="020B0702040204020203" pitchFamily="34" charset="0"/>
                <a:ea typeface="Segoe UI Semilight" panose="020B0702040204020203" pitchFamily="34" charset="0"/>
                <a:cs typeface="Segoe UI" panose="020B0502040204020203" pitchFamily="34" charset="0"/>
              </a:rPr>
              <a:t>Cryptocurrency wallet</a:t>
            </a:r>
          </a:p>
          <a:p>
            <a:r>
              <a:rPr lang="en-US" dirty="0">
                <a:latin typeface="Segoe UI Semilight" panose="020B0702040204020203" pitchFamily="34" charset="0"/>
                <a:ea typeface="Segoe UI Semilight" panose="020B0702040204020203" pitchFamily="34" charset="0"/>
                <a:cs typeface="Segoe UI" panose="020B0502040204020203" pitchFamily="34" charset="0"/>
              </a:rPr>
              <a:t>Bitcoin Cash</a:t>
            </a:r>
          </a:p>
          <a:p>
            <a:r>
              <a:rPr lang="en-US" dirty="0">
                <a:latin typeface="Segoe UI Semilight" panose="020B0702040204020203" pitchFamily="34" charset="0"/>
                <a:ea typeface="Segoe UI Semilight" panose="020B0702040204020203" pitchFamily="34" charset="0"/>
                <a:cs typeface="Segoe UI" panose="020B0502040204020203" pitchFamily="34" charset="0"/>
              </a:rPr>
              <a:t>What’s next?</a:t>
            </a:r>
          </a:p>
        </p:txBody>
      </p:sp>
    </p:spTree>
    <p:extLst>
      <p:ext uri="{BB962C8B-B14F-4D97-AF65-F5344CB8AC3E}">
        <p14:creationId xmlns:p14="http://schemas.microsoft.com/office/powerpoint/2010/main" val="1683866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964788" y="804333"/>
            <a:ext cx="3391900" cy="5249334"/>
          </a:xfrm>
        </p:spPr>
        <p:txBody>
          <a:bodyPr>
            <a:normAutofit/>
          </a:bodyPr>
          <a:lstStyle/>
          <a:p>
            <a:pPr algn="r"/>
            <a:r>
              <a:rPr lang="en-US" dirty="0">
                <a:solidFill>
                  <a:srgbClr val="FFFFFF"/>
                </a:solidFill>
              </a:rPr>
              <a:t>Topics of interests</a:t>
            </a:r>
          </a:p>
        </p:txBody>
      </p:sp>
      <p:sp>
        <p:nvSpPr>
          <p:cNvPr id="3" name="Content Placeholder 2"/>
          <p:cNvSpPr>
            <a:spLocks noGrp="1"/>
          </p:cNvSpPr>
          <p:nvPr>
            <p:ph type="body" idx="1"/>
          </p:nvPr>
        </p:nvSpPr>
        <p:spPr>
          <a:xfrm>
            <a:off x="4951048" y="804333"/>
            <a:ext cx="6306003" cy="5249334"/>
          </a:xfrm>
        </p:spPr>
        <p:txBody>
          <a:bodyPr anchor="ctr">
            <a:normAutofit/>
          </a:bodyPr>
          <a:lstStyle/>
          <a:p>
            <a:r>
              <a:rPr lang="en-US" dirty="0"/>
              <a:t>Types of Digital Currencies</a:t>
            </a:r>
          </a:p>
          <a:p>
            <a:r>
              <a:rPr lang="en-US" dirty="0"/>
              <a:t>Law &amp; Regulations</a:t>
            </a:r>
          </a:p>
          <a:p>
            <a:r>
              <a:rPr lang="en-US" dirty="0"/>
              <a:t>Adoption by Governments</a:t>
            </a:r>
          </a:p>
          <a:p>
            <a:r>
              <a:rPr lang="en-US" dirty="0"/>
              <a:t>Adoption by Financial Actors</a:t>
            </a:r>
          </a:p>
          <a:p>
            <a:r>
              <a:rPr lang="en-US" dirty="0"/>
              <a:t>Technologies</a:t>
            </a:r>
          </a:p>
          <a:p>
            <a:r>
              <a:rPr lang="en-US" dirty="0"/>
              <a:t>Sentiments and Drivers</a:t>
            </a:r>
          </a:p>
        </p:txBody>
      </p:sp>
    </p:spTree>
    <p:extLst>
      <p:ext uri="{BB962C8B-B14F-4D97-AF65-F5344CB8AC3E}">
        <p14:creationId xmlns:p14="http://schemas.microsoft.com/office/powerpoint/2010/main" val="1719855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B76E6-8E55-4532-B4C9-362459A30A05}"/>
              </a:ext>
            </a:extLst>
          </p:cNvPr>
          <p:cNvSpPr>
            <a:spLocks noGrp="1"/>
          </p:cNvSpPr>
          <p:nvPr>
            <p:ph type="title"/>
          </p:nvPr>
        </p:nvSpPr>
        <p:spPr/>
        <p:txBody>
          <a:bodyPr/>
          <a:lstStyle/>
          <a:p>
            <a:r>
              <a:rPr lang="en-US" dirty="0">
                <a:solidFill>
                  <a:srgbClr val="00B0F0"/>
                </a:solidFill>
                <a:latin typeface="Segoe UI Light" panose="020B0702040204020203" pitchFamily="34" charset="0"/>
                <a:ea typeface="Segoe UI Light" panose="020B0702040204020203" pitchFamily="34" charset="0"/>
                <a:cs typeface="Segoe UI" panose="020B0502040204020203" pitchFamily="34" charset="0"/>
              </a:rPr>
              <a:t>International Trade &amp; Trade Finance Digitization</a:t>
            </a:r>
          </a:p>
        </p:txBody>
      </p:sp>
      <p:sp>
        <p:nvSpPr>
          <p:cNvPr id="20" name="Text 2"/>
          <p:cNvSpPr/>
          <p:nvPr/>
        </p:nvSpPr>
        <p:spPr>
          <a:xfrm>
            <a:off x="838200" y="1461299"/>
            <a:ext cx="10462846" cy="375359"/>
          </a:xfrm>
          <a:prstGeom prst="rect">
            <a:avLst/>
          </a:prstGeom>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0F0"/>
                </a:solidFill>
                <a:effectLst/>
                <a:uLnTx/>
                <a:uFillTx/>
                <a:latin typeface="Segoe UI Semibold" panose="020B0702040204020203" pitchFamily="34" charset="0"/>
                <a:ea typeface="Segoe UI Semibold" panose="020B0702040204020203" pitchFamily="34" charset="0"/>
                <a:cs typeface="Segoe UI" panose="020B0502040204020203" pitchFamily="34" charset="0"/>
              </a:rPr>
              <a:t>International Trade</a:t>
            </a:r>
          </a:p>
        </p:txBody>
      </p:sp>
      <p:sp>
        <p:nvSpPr>
          <p:cNvPr id="21" name="Content Placeholder 2"/>
          <p:cNvSpPr txBox="1">
            <a:spLocks/>
          </p:cNvSpPr>
          <p:nvPr/>
        </p:nvSpPr>
        <p:spPr>
          <a:xfrm>
            <a:off x="850250" y="1876798"/>
            <a:ext cx="10465450" cy="4000000"/>
          </a:xfrm>
          <a:prstGeom prst="rect">
            <a:avLst/>
          </a:prstGeom>
          <a:ln w="57150">
            <a:noFill/>
          </a:ln>
        </p:spPr>
        <p:txBody>
          <a:bodyPr vert="horz" lIns="91440" tIns="45720" rIns="91440" bIns="45720" numCol="1" rtlCol="0" anchor="t">
            <a:normAutofit/>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Semilight" panose="020B0402040204020203" pitchFamily="34" charset="0"/>
                <a:ea typeface="Segoe UI" panose="020B0502040204020203" pitchFamily="34" charset="0"/>
                <a:cs typeface="Segoe UI Semilight" panose="020B0402040204020203" pitchFamily="34" charset="0"/>
              </a:rPr>
              <a:t>International trade is the exchange of capital, goods, and services across international borders or territories. In most countries, such trade represents a significant share of gross domestic product. While international trade has existed throughout history, its economic, social, and political importance has been on the rise in recent centuries.</a:t>
            </a:r>
          </a:p>
        </p:txBody>
      </p:sp>
      <p:sp>
        <p:nvSpPr>
          <p:cNvPr id="9" name="TextBox 8">
            <a:extLst>
              <a:ext uri="{FF2B5EF4-FFF2-40B4-BE49-F238E27FC236}">
                <a16:creationId xmlns:a16="http://schemas.microsoft.com/office/drawing/2014/main" id="{97E15CB4-D73B-9FEB-614C-9DF3B9F7AE9E}"/>
              </a:ext>
            </a:extLst>
          </p:cNvPr>
          <p:cNvSpPr txBox="1"/>
          <p:nvPr/>
        </p:nvSpPr>
        <p:spPr>
          <a:xfrm>
            <a:off x="851770" y="3817959"/>
            <a:ext cx="10459232" cy="1021690"/>
          </a:xfrm>
          <a:prstGeom prst="rect">
            <a:avLst/>
          </a:prstGeom>
          <a:noFill/>
        </p:spPr>
        <p:txBody>
          <a:bodyPr wrap="square">
            <a:spAutoFit/>
          </a:bodyPr>
          <a:lstStyle/>
          <a:p>
            <a:pPr>
              <a:lnSpc>
                <a:spcPct val="150000"/>
              </a:lnSpc>
            </a:pPr>
            <a:r>
              <a:rPr lang="en-US" sz="1400" dirty="0">
                <a:solidFill>
                  <a:prstClr val="black">
                    <a:lumMod val="65000"/>
                    <a:lumOff val="35000"/>
                  </a:prstClr>
                </a:solidFill>
                <a:latin typeface="Segoe UI Semilight" panose="020B0402040204020203" pitchFamily="34" charset="0"/>
                <a:cs typeface="Segoe UI Semilight" panose="020B0402040204020203" pitchFamily="34" charset="0"/>
              </a:rPr>
              <a:t>Digitizing Trade Finance seeks to address the significant gap in global trade financing by working with the public and private sectors to identify and develop technologies and associated technology standards that facilitate connections between digital islands, trade finance inclusion for small and medium-sized enterprises (SMEs) and trade tech for emerging market economies (EMEs). </a:t>
            </a:r>
            <a:endParaRPr lang="en-SG" sz="1400" dirty="0">
              <a:solidFill>
                <a:prstClr val="black">
                  <a:lumMod val="65000"/>
                  <a:lumOff val="35000"/>
                </a:prstClr>
              </a:solidFill>
              <a:latin typeface="Segoe UI Semilight" panose="020B0402040204020203" pitchFamily="34" charset="0"/>
              <a:cs typeface="Segoe UI Semilight" panose="020B0402040204020203" pitchFamily="34" charset="0"/>
            </a:endParaRPr>
          </a:p>
        </p:txBody>
      </p:sp>
      <p:sp>
        <p:nvSpPr>
          <p:cNvPr id="11" name="Text 2">
            <a:extLst>
              <a:ext uri="{FF2B5EF4-FFF2-40B4-BE49-F238E27FC236}">
                <a16:creationId xmlns:a16="http://schemas.microsoft.com/office/drawing/2014/main" id="{90140D62-23B9-7221-F32F-C9E0718D34C0}"/>
              </a:ext>
            </a:extLst>
          </p:cNvPr>
          <p:cNvSpPr/>
          <p:nvPr/>
        </p:nvSpPr>
        <p:spPr>
          <a:xfrm>
            <a:off x="815235" y="3367343"/>
            <a:ext cx="10462846" cy="375359"/>
          </a:xfrm>
          <a:prstGeom prst="rect">
            <a:avLst/>
          </a:prstGeom>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0F0"/>
                </a:solidFill>
                <a:effectLst/>
                <a:uLnTx/>
                <a:uFillTx/>
                <a:latin typeface="Segoe UI Semibold" panose="020B0702040204020203" pitchFamily="34" charset="0"/>
                <a:ea typeface="Segoe UI Semibold" panose="020B0702040204020203" pitchFamily="34" charset="0"/>
                <a:cs typeface="Segoe UI" panose="020B0502040204020203" pitchFamily="34" charset="0"/>
              </a:rPr>
              <a:t>Trade Finance Digitization</a:t>
            </a:r>
          </a:p>
        </p:txBody>
      </p:sp>
    </p:spTree>
    <p:extLst>
      <p:ext uri="{BB962C8B-B14F-4D97-AF65-F5344CB8AC3E}">
        <p14:creationId xmlns:p14="http://schemas.microsoft.com/office/powerpoint/2010/main" val="2499441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DA537-9EAD-4C2A-8B8C-B5471C6F5D65}"/>
              </a:ext>
            </a:extLst>
          </p:cNvPr>
          <p:cNvSpPr>
            <a:spLocks noGrp="1"/>
          </p:cNvSpPr>
          <p:nvPr>
            <p:ph type="title"/>
          </p:nvPr>
        </p:nvSpPr>
        <p:spPr/>
        <p:txBody>
          <a:bodyPr/>
          <a:lstStyle/>
          <a:p>
            <a:r>
              <a:rPr lang="en-US" dirty="0">
                <a:solidFill>
                  <a:srgbClr val="00B0F0"/>
                </a:solidFill>
                <a:latin typeface="Segoe UI Light" panose="020B0702040204020203" pitchFamily="34" charset="0"/>
                <a:ea typeface="Segoe UI Light" panose="020B0702040204020203" pitchFamily="34" charset="0"/>
                <a:cs typeface="Segoe UI" panose="020B0502040204020203" pitchFamily="34" charset="0"/>
              </a:rPr>
              <a:t>Related topics to research</a:t>
            </a:r>
          </a:p>
        </p:txBody>
      </p:sp>
      <p:sp>
        <p:nvSpPr>
          <p:cNvPr id="3" name="Content Placeholder 2">
            <a:extLst>
              <a:ext uri="{FF2B5EF4-FFF2-40B4-BE49-F238E27FC236}">
                <a16:creationId xmlns:a16="http://schemas.microsoft.com/office/drawing/2014/main" id="{60106C6B-49E2-4E93-AEC3-AA4886AC999D}"/>
              </a:ext>
            </a:extLst>
          </p:cNvPr>
          <p:cNvSpPr>
            <a:spLocks noGrp="1"/>
          </p:cNvSpPr>
          <p:nvPr>
            <p:ph idx="1"/>
          </p:nvPr>
        </p:nvSpPr>
        <p:spPr>
          <a:xfrm>
            <a:off x="838200" y="1625936"/>
            <a:ext cx="4978408" cy="4351338"/>
          </a:xfrm>
        </p:spPr>
        <p:txBody>
          <a:bodyPr/>
          <a:lstStyle/>
          <a:p>
            <a:r>
              <a:rPr lang="en-US" dirty="0">
                <a:latin typeface="Segoe UI Semilight" panose="020B0702040204020203" pitchFamily="34" charset="0"/>
                <a:ea typeface="Segoe UI Semilight" panose="020B0702040204020203" pitchFamily="34" charset="0"/>
                <a:cs typeface="Segoe UI" panose="020B0502040204020203" pitchFamily="34" charset="0"/>
              </a:rPr>
              <a:t>International trade law</a:t>
            </a:r>
          </a:p>
          <a:p>
            <a:r>
              <a:rPr lang="en-US" dirty="0">
                <a:latin typeface="Segoe UI Semilight" panose="020B0702040204020203" pitchFamily="34" charset="0"/>
                <a:ea typeface="Segoe UI Semilight" panose="020B0702040204020203" pitchFamily="34" charset="0"/>
                <a:cs typeface="Segoe UI" panose="020B0502040204020203" pitchFamily="34" charset="0"/>
              </a:rPr>
              <a:t>International business</a:t>
            </a:r>
          </a:p>
          <a:p>
            <a:r>
              <a:rPr lang="en-US" dirty="0">
                <a:latin typeface="Segoe UI Semilight" panose="020B0702040204020203" pitchFamily="34" charset="0"/>
                <a:ea typeface="Segoe UI Semilight" panose="020B0702040204020203" pitchFamily="34" charset="0"/>
                <a:cs typeface="Segoe UI" panose="020B0502040204020203" pitchFamily="34" charset="0"/>
              </a:rPr>
              <a:t>Exchange Rate &amp; Settlements</a:t>
            </a:r>
          </a:p>
          <a:p>
            <a:r>
              <a:rPr lang="en-US" dirty="0">
                <a:latin typeface="Segoe UI Semilight" panose="020B0702040204020203" pitchFamily="34" charset="0"/>
                <a:ea typeface="Segoe UI Semilight" panose="020B0702040204020203" pitchFamily="34" charset="0"/>
                <a:cs typeface="Segoe UI" panose="020B0502040204020203" pitchFamily="34" charset="0"/>
              </a:rPr>
              <a:t>Trade Finance Automation &amp; Digitization</a:t>
            </a:r>
          </a:p>
          <a:p>
            <a:r>
              <a:rPr lang="en-US" dirty="0">
                <a:latin typeface="Segoe UI Semilight" panose="020B0702040204020203" pitchFamily="34" charset="0"/>
                <a:ea typeface="Segoe UI Semilight" panose="020B0702040204020203" pitchFamily="34" charset="0"/>
                <a:cs typeface="Segoe UI" panose="020B0502040204020203" pitchFamily="34" charset="0"/>
              </a:rPr>
              <a:t>Trade Finance Networks</a:t>
            </a:r>
          </a:p>
          <a:p>
            <a:r>
              <a:rPr lang="en-US" dirty="0">
                <a:latin typeface="Segoe UI Semilight" panose="020B0702040204020203" pitchFamily="34" charset="0"/>
                <a:ea typeface="Segoe UI Semilight" panose="020B0702040204020203" pitchFamily="34" charset="0"/>
                <a:cs typeface="Segoe UI" panose="020B0502040204020203" pitchFamily="34" charset="0"/>
              </a:rPr>
              <a:t>Blockchain</a:t>
            </a:r>
          </a:p>
          <a:p>
            <a:endParaRPr lang="en-US" dirty="0">
              <a:latin typeface="Segoe UI Semilight" panose="020B0702040204020203" pitchFamily="34" charset="0"/>
              <a:ea typeface="Segoe UI Semilight" panose="020B0702040204020203" pitchFamily="34" charset="0"/>
              <a:cs typeface="Segoe UI" panose="020B0502040204020203" pitchFamily="34" charset="0"/>
            </a:endParaRPr>
          </a:p>
        </p:txBody>
      </p:sp>
    </p:spTree>
    <p:extLst>
      <p:ext uri="{BB962C8B-B14F-4D97-AF65-F5344CB8AC3E}">
        <p14:creationId xmlns:p14="http://schemas.microsoft.com/office/powerpoint/2010/main" val="38815339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1" name="Rectangle 10">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p:cNvSpPr>
            <a:spLocks noGrp="1"/>
          </p:cNvSpPr>
          <p:nvPr>
            <p:ph type="title"/>
          </p:nvPr>
        </p:nvSpPr>
        <p:spPr>
          <a:xfrm>
            <a:off x="964788" y="804333"/>
            <a:ext cx="3391900" cy="5249334"/>
          </a:xfrm>
        </p:spPr>
        <p:txBody>
          <a:bodyPr>
            <a:normAutofit/>
          </a:bodyPr>
          <a:lstStyle/>
          <a:p>
            <a:pPr algn="r"/>
            <a:r>
              <a:rPr lang="en-US" dirty="0">
                <a:solidFill>
                  <a:srgbClr val="FFFFFF"/>
                </a:solidFill>
              </a:rPr>
              <a:t>Topics of Interests</a:t>
            </a:r>
          </a:p>
        </p:txBody>
      </p:sp>
      <p:sp>
        <p:nvSpPr>
          <p:cNvPr id="3" name="Content Placeholder 2"/>
          <p:cNvSpPr>
            <a:spLocks noGrp="1"/>
          </p:cNvSpPr>
          <p:nvPr>
            <p:ph type="body" idx="1"/>
          </p:nvPr>
        </p:nvSpPr>
        <p:spPr>
          <a:xfrm>
            <a:off x="4951048" y="804333"/>
            <a:ext cx="6306003" cy="5249334"/>
          </a:xfrm>
        </p:spPr>
        <p:txBody>
          <a:bodyPr anchor="ctr">
            <a:normAutofit/>
          </a:bodyPr>
          <a:lstStyle/>
          <a:p>
            <a:r>
              <a:rPr lang="en-US" dirty="0"/>
              <a:t>International Trade Law</a:t>
            </a:r>
          </a:p>
          <a:p>
            <a:r>
              <a:rPr lang="en-US" dirty="0"/>
              <a:t>Supply Chain Disruptions and Resolutions</a:t>
            </a:r>
          </a:p>
          <a:p>
            <a:r>
              <a:rPr lang="en-US" dirty="0"/>
              <a:t>Trade Finance Automation &amp; Digitization</a:t>
            </a:r>
          </a:p>
          <a:p>
            <a:r>
              <a:rPr lang="en-US" dirty="0"/>
              <a:t>Trade Finance Networks</a:t>
            </a:r>
          </a:p>
          <a:p>
            <a:r>
              <a:rPr lang="en-US" dirty="0"/>
              <a:t>Technologies – Blockchain, AI/ML, Web 3.0, 5G, IoT</a:t>
            </a:r>
          </a:p>
        </p:txBody>
      </p:sp>
    </p:spTree>
    <p:extLst>
      <p:ext uri="{BB962C8B-B14F-4D97-AF65-F5344CB8AC3E}">
        <p14:creationId xmlns:p14="http://schemas.microsoft.com/office/powerpoint/2010/main" val="23833517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QuickStarter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4">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8.potx" id="{724AF5A5-E2F9-4637-AA52-CF3C494E3E17}" vid="{80DD2ED2-4D50-46D7-9953-BFE52DABBA29}"/>
    </a:ext>
  </a:extLst>
</a:theme>
</file>

<file path=ppt/theme/theme4.xml><?xml version="1.0" encoding="utf-8"?>
<a:theme xmlns:a="http://schemas.openxmlformats.org/drawingml/2006/main" name="4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WebAD1A</Template>
  <TotalTime>48</TotalTime>
  <Words>598</Words>
  <Application>Microsoft Office PowerPoint</Application>
  <PresentationFormat>Widescreen</PresentationFormat>
  <Paragraphs>92</Paragraphs>
  <Slides>9</Slides>
  <Notes>5</Notes>
  <HiddenSlides>0</HiddenSlides>
  <MMClips>0</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1</vt:i4>
      </vt:variant>
      <vt:variant>
        <vt:lpstr>Slide Titles</vt:lpstr>
      </vt:variant>
      <vt:variant>
        <vt:i4>9</vt:i4>
      </vt:variant>
    </vt:vector>
  </HeadingPairs>
  <TitlesOfParts>
    <vt:vector size="29" baseType="lpstr">
      <vt:lpstr>Arial</vt:lpstr>
      <vt:lpstr>Calibri</vt:lpstr>
      <vt:lpstr>Calibri Light</vt:lpstr>
      <vt:lpstr>Consolas</vt:lpstr>
      <vt:lpstr>Courier New</vt:lpstr>
      <vt:lpstr>flexo</vt:lpstr>
      <vt:lpstr>Segoe UI</vt:lpstr>
      <vt:lpstr>Segoe UI Light</vt:lpstr>
      <vt:lpstr>Segoe UI Semibold</vt:lpstr>
      <vt:lpstr>Segoe UI Semilight</vt:lpstr>
      <vt:lpstr>Tw Cen MT</vt:lpstr>
      <vt:lpstr>Tw Cen MT Condensed</vt:lpstr>
      <vt:lpstr>Wingdings</vt:lpstr>
      <vt:lpstr>Wingdings 3</vt:lpstr>
      <vt:lpstr>Integral</vt:lpstr>
      <vt:lpstr>QuickStarter Theme</vt:lpstr>
      <vt:lpstr>White Template</vt:lpstr>
      <vt:lpstr>4_FY18 Enterprise</vt:lpstr>
      <vt:lpstr>2_Office Theme</vt:lpstr>
      <vt:lpstr>think-cell Slide</vt:lpstr>
      <vt:lpstr>PowerPoint Presentation</vt:lpstr>
      <vt:lpstr>Retail Banking Transformations</vt:lpstr>
      <vt:lpstr>PowerPoint Presentation</vt:lpstr>
      <vt:lpstr>Digital Currencies</vt:lpstr>
      <vt:lpstr>Related topics to research</vt:lpstr>
      <vt:lpstr>Topics of interests</vt:lpstr>
      <vt:lpstr>International Trade &amp; Trade Finance Digitization</vt:lpstr>
      <vt:lpstr>Related topics to research</vt:lpstr>
      <vt:lpstr>Topics of Interes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eldon Goh</dc:creator>
  <cp:lastModifiedBy>Sheldon Goh</cp:lastModifiedBy>
  <cp:revision>2</cp:revision>
  <dcterms:created xsi:type="dcterms:W3CDTF">2022-07-25T01:30:30Z</dcterms:created>
  <dcterms:modified xsi:type="dcterms:W3CDTF">2022-07-25T02:23:57Z</dcterms:modified>
</cp:coreProperties>
</file>